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2"/>
  </p:notesMasterIdLst>
  <p:sldIdLst>
    <p:sldId id="1201" r:id="rId2"/>
    <p:sldId id="1202" r:id="rId3"/>
    <p:sldId id="1203" r:id="rId4"/>
    <p:sldId id="1193" r:id="rId5"/>
    <p:sldId id="1204" r:id="rId6"/>
    <p:sldId id="1205" r:id="rId7"/>
    <p:sldId id="1206" r:id="rId8"/>
    <p:sldId id="1207" r:id="rId9"/>
    <p:sldId id="1190" r:id="rId10"/>
    <p:sldId id="1191" r:id="rId11"/>
    <p:sldId id="1192" r:id="rId12"/>
    <p:sldId id="1109" r:id="rId13"/>
    <p:sldId id="1181" r:id="rId14"/>
    <p:sldId id="957" r:id="rId15"/>
    <p:sldId id="956" r:id="rId16"/>
    <p:sldId id="931" r:id="rId17"/>
    <p:sldId id="1177" r:id="rId18"/>
    <p:sldId id="1180" r:id="rId19"/>
    <p:sldId id="1179" r:id="rId20"/>
    <p:sldId id="1182" r:id="rId21"/>
    <p:sldId id="967" r:id="rId22"/>
    <p:sldId id="963" r:id="rId23"/>
    <p:sldId id="965" r:id="rId24"/>
    <p:sldId id="966" r:id="rId25"/>
    <p:sldId id="929" r:id="rId26"/>
    <p:sldId id="797" r:id="rId27"/>
    <p:sldId id="798" r:id="rId28"/>
    <p:sldId id="799" r:id="rId29"/>
    <p:sldId id="800" r:id="rId30"/>
    <p:sldId id="719" r:id="rId31"/>
    <p:sldId id="756" r:id="rId32"/>
    <p:sldId id="889" r:id="rId33"/>
    <p:sldId id="890" r:id="rId34"/>
    <p:sldId id="762" r:id="rId35"/>
    <p:sldId id="891" r:id="rId36"/>
    <p:sldId id="892" r:id="rId37"/>
    <p:sldId id="766" r:id="rId38"/>
    <p:sldId id="765" r:id="rId39"/>
    <p:sldId id="764" r:id="rId40"/>
    <p:sldId id="768" r:id="rId41"/>
    <p:sldId id="769" r:id="rId42"/>
    <p:sldId id="775" r:id="rId43"/>
    <p:sldId id="776" r:id="rId44"/>
    <p:sldId id="777" r:id="rId45"/>
    <p:sldId id="894" r:id="rId46"/>
    <p:sldId id="780" r:id="rId47"/>
    <p:sldId id="955" r:id="rId48"/>
    <p:sldId id="950" r:id="rId49"/>
    <p:sldId id="953" r:id="rId50"/>
    <p:sldId id="782" r:id="rId51"/>
    <p:sldId id="895" r:id="rId52"/>
    <p:sldId id="896" r:id="rId53"/>
    <p:sldId id="897" r:id="rId54"/>
    <p:sldId id="898" r:id="rId55"/>
    <p:sldId id="948" r:id="rId56"/>
    <p:sldId id="900" r:id="rId57"/>
    <p:sldId id="901" r:id="rId58"/>
    <p:sldId id="792" r:id="rId59"/>
    <p:sldId id="793" r:id="rId60"/>
    <p:sldId id="794" r:id="rId61"/>
    <p:sldId id="1186" r:id="rId62"/>
    <p:sldId id="1603" r:id="rId63"/>
    <p:sldId id="256" r:id="rId64"/>
    <p:sldId id="257" r:id="rId65"/>
    <p:sldId id="258" r:id="rId66"/>
    <p:sldId id="259" r:id="rId67"/>
    <p:sldId id="260" r:id="rId68"/>
    <p:sldId id="261" r:id="rId69"/>
    <p:sldId id="262" r:id="rId70"/>
    <p:sldId id="263" r:id="rId71"/>
    <p:sldId id="264" r:id="rId72"/>
    <p:sldId id="265" r:id="rId73"/>
    <p:sldId id="266" r:id="rId74"/>
    <p:sldId id="267" r:id="rId75"/>
    <p:sldId id="268" r:id="rId76"/>
    <p:sldId id="269" r:id="rId77"/>
    <p:sldId id="270" r:id="rId78"/>
    <p:sldId id="271" r:id="rId79"/>
    <p:sldId id="272" r:id="rId80"/>
    <p:sldId id="273" r:id="rId81"/>
    <p:sldId id="274" r:id="rId82"/>
    <p:sldId id="275" r:id="rId83"/>
    <p:sldId id="1187" r:id="rId84"/>
    <p:sldId id="1188" r:id="rId85"/>
    <p:sldId id="1189" r:id="rId86"/>
    <p:sldId id="1170" r:id="rId87"/>
    <p:sldId id="721" r:id="rId88"/>
    <p:sldId id="1176" r:id="rId89"/>
    <p:sldId id="1183" r:id="rId90"/>
    <p:sldId id="1184" r:id="rId91"/>
    <p:sldId id="1194" r:id="rId92"/>
    <p:sldId id="1195" r:id="rId93"/>
    <p:sldId id="1196" r:id="rId94"/>
    <p:sldId id="1197" r:id="rId95"/>
    <p:sldId id="1198" r:id="rId96"/>
    <p:sldId id="722" r:id="rId97"/>
    <p:sldId id="723" r:id="rId98"/>
    <p:sldId id="724" r:id="rId99"/>
    <p:sldId id="1185" r:id="rId100"/>
    <p:sldId id="725" r:id="rId101"/>
    <p:sldId id="726" r:id="rId102"/>
    <p:sldId id="727" r:id="rId103"/>
    <p:sldId id="728" r:id="rId104"/>
    <p:sldId id="1199" r:id="rId105"/>
    <p:sldId id="729" r:id="rId106"/>
    <p:sldId id="730" r:id="rId107"/>
    <p:sldId id="731" r:id="rId108"/>
    <p:sldId id="732" r:id="rId109"/>
    <p:sldId id="733" r:id="rId110"/>
    <p:sldId id="529" r:id="rId111"/>
    <p:sldId id="734" r:id="rId112"/>
    <p:sldId id="735" r:id="rId113"/>
    <p:sldId id="736" r:id="rId114"/>
    <p:sldId id="737" r:id="rId115"/>
    <p:sldId id="1200" r:id="rId116"/>
    <p:sldId id="1601" r:id="rId117"/>
    <p:sldId id="1227" r:id="rId118"/>
    <p:sldId id="1587" r:id="rId119"/>
    <p:sldId id="1175" r:id="rId120"/>
    <p:sldId id="1602" r:id="rId121"/>
  </p:sldIdLst>
  <p:sldSz cx="12192000" cy="6858000"/>
  <p:notesSz cx="6858000" cy="9144000"/>
  <p:custDataLst>
    <p:tags r:id="rId1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79D"/>
    <a:srgbClr val="92D050"/>
    <a:srgbClr val="5B9BD5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28" autoAdjust="0"/>
    <p:restoredTop sz="94103" autoAdjust="0"/>
  </p:normalViewPr>
  <p:slideViewPr>
    <p:cSldViewPr snapToGrid="0">
      <p:cViewPr varScale="1">
        <p:scale>
          <a:sx n="63" d="100"/>
          <a:sy n="63" d="100"/>
        </p:scale>
        <p:origin x="796" y="5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-22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tags" Target="tags/tag1.xml"/><Relationship Id="rId128" Type="http://schemas.microsoft.com/office/2016/11/relationships/changesInfo" Target="changesInfos/changesInfo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presProps" Target="presProps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ny M P" userId="ae1e3ab533ed63fd" providerId="LiveId" clId="{493E34BF-8A97-4DD7-BB22-DE69CD09F603}"/>
    <pc:docChg chg="undo redo custSel delSld modSld sldOrd">
      <pc:chgData name="Tony M P" userId="ae1e3ab533ed63fd" providerId="LiveId" clId="{493E34BF-8A97-4DD7-BB22-DE69CD09F603}" dt="2022-10-06T15:44:41.674" v="774" actId="14100"/>
      <pc:docMkLst>
        <pc:docMk/>
      </pc:docMkLst>
      <pc:sldChg chg="modSp mod">
        <pc:chgData name="Tony M P" userId="ae1e3ab533ed63fd" providerId="LiveId" clId="{493E34BF-8A97-4DD7-BB22-DE69CD09F603}" dt="2022-10-04T10:56:06.666" v="34" actId="20577"/>
        <pc:sldMkLst>
          <pc:docMk/>
          <pc:sldMk cId="2298963138" sldId="436"/>
        </pc:sldMkLst>
        <pc:spChg chg="mod">
          <ac:chgData name="Tony M P" userId="ae1e3ab533ed63fd" providerId="LiveId" clId="{493E34BF-8A97-4DD7-BB22-DE69CD09F603}" dt="2022-10-04T10:56:06.666" v="34" actId="20577"/>
          <ac:spMkLst>
            <pc:docMk/>
            <pc:sldMk cId="2298963138" sldId="436"/>
            <ac:spMk id="3" creationId="{00000000-0000-0000-0000-000000000000}"/>
          </ac:spMkLst>
        </pc:spChg>
      </pc:sldChg>
      <pc:sldChg chg="del">
        <pc:chgData name="Tony M P" userId="ae1e3ab533ed63fd" providerId="LiveId" clId="{493E34BF-8A97-4DD7-BB22-DE69CD09F603}" dt="2022-10-04T11:01:57.119" v="99" actId="47"/>
        <pc:sldMkLst>
          <pc:docMk/>
          <pc:sldMk cId="2298963138" sldId="490"/>
        </pc:sldMkLst>
      </pc:sldChg>
      <pc:sldChg chg="addSp delSp modSp mod">
        <pc:chgData name="Tony M P" userId="ae1e3ab533ed63fd" providerId="LiveId" clId="{493E34BF-8A97-4DD7-BB22-DE69CD09F603}" dt="2022-10-04T10:57:54.816" v="94" actId="14100"/>
        <pc:sldMkLst>
          <pc:docMk/>
          <pc:sldMk cId="48998496" sldId="686"/>
        </pc:sldMkLst>
        <pc:spChg chg="mod">
          <ac:chgData name="Tony M P" userId="ae1e3ab533ed63fd" providerId="LiveId" clId="{493E34BF-8A97-4DD7-BB22-DE69CD09F603}" dt="2022-10-04T10:56:37.116" v="87" actId="20577"/>
          <ac:spMkLst>
            <pc:docMk/>
            <pc:sldMk cId="48998496" sldId="686"/>
            <ac:spMk id="2" creationId="{00000000-0000-0000-0000-000000000000}"/>
          </ac:spMkLst>
        </pc:spChg>
        <pc:spChg chg="del">
          <ac:chgData name="Tony M P" userId="ae1e3ab533ed63fd" providerId="LiveId" clId="{493E34BF-8A97-4DD7-BB22-DE69CD09F603}" dt="2022-10-04T10:56:45.591" v="88" actId="478"/>
          <ac:spMkLst>
            <pc:docMk/>
            <pc:sldMk cId="48998496" sldId="686"/>
            <ac:spMk id="4" creationId="{00000000-0000-0000-0000-000000000000}"/>
          </ac:spMkLst>
        </pc:spChg>
        <pc:picChg chg="add mod">
          <ac:chgData name="Tony M P" userId="ae1e3ab533ed63fd" providerId="LiveId" clId="{493E34BF-8A97-4DD7-BB22-DE69CD09F603}" dt="2022-10-04T10:57:54.816" v="94" actId="14100"/>
          <ac:picMkLst>
            <pc:docMk/>
            <pc:sldMk cId="48998496" sldId="686"/>
            <ac:picMk id="6" creationId="{6E882A76-B802-9A96-3C17-1B913D9BA591}"/>
          </ac:picMkLst>
        </pc:picChg>
      </pc:sldChg>
      <pc:sldChg chg="addSp delSp modSp mod">
        <pc:chgData name="Tony M P" userId="ae1e3ab533ed63fd" providerId="LiveId" clId="{493E34BF-8A97-4DD7-BB22-DE69CD09F603}" dt="2022-10-04T11:11:00.616" v="115" actId="20577"/>
        <pc:sldMkLst>
          <pc:docMk/>
          <pc:sldMk cId="1846760055" sldId="687"/>
        </pc:sldMkLst>
        <pc:spChg chg="mod">
          <ac:chgData name="Tony M P" userId="ae1e3ab533ed63fd" providerId="LiveId" clId="{493E34BF-8A97-4DD7-BB22-DE69CD09F603}" dt="2022-10-04T11:11:00.616" v="115" actId="20577"/>
          <ac:spMkLst>
            <pc:docMk/>
            <pc:sldMk cId="1846760055" sldId="687"/>
            <ac:spMk id="2" creationId="{00000000-0000-0000-0000-000000000000}"/>
          </ac:spMkLst>
        </pc:spChg>
        <pc:spChg chg="del">
          <ac:chgData name="Tony M P" userId="ae1e3ab533ed63fd" providerId="LiveId" clId="{493E34BF-8A97-4DD7-BB22-DE69CD09F603}" dt="2022-10-04T11:10:39.923" v="100" actId="478"/>
          <ac:spMkLst>
            <pc:docMk/>
            <pc:sldMk cId="1846760055" sldId="687"/>
            <ac:spMk id="4" creationId="{00000000-0000-0000-0000-000000000000}"/>
          </ac:spMkLst>
        </pc:spChg>
        <pc:picChg chg="add">
          <ac:chgData name="Tony M P" userId="ae1e3ab533ed63fd" providerId="LiveId" clId="{493E34BF-8A97-4DD7-BB22-DE69CD09F603}" dt="2022-10-04T11:10:43.797" v="101"/>
          <ac:picMkLst>
            <pc:docMk/>
            <pc:sldMk cId="1846760055" sldId="687"/>
            <ac:picMk id="3" creationId="{B4E4EC1C-D043-E90B-2A12-6B2C270EA985}"/>
          </ac:picMkLst>
        </pc:picChg>
      </pc:sldChg>
      <pc:sldChg chg="del">
        <pc:chgData name="Tony M P" userId="ae1e3ab533ed63fd" providerId="LiveId" clId="{493E34BF-8A97-4DD7-BB22-DE69CD09F603}" dt="2022-10-04T11:01:54.885" v="95" actId="47"/>
        <pc:sldMkLst>
          <pc:docMk/>
          <pc:sldMk cId="156966178" sldId="688"/>
        </pc:sldMkLst>
      </pc:sldChg>
      <pc:sldChg chg="addSp delSp modSp mod">
        <pc:chgData name="Tony M P" userId="ae1e3ab533ed63fd" providerId="LiveId" clId="{493E34BF-8A97-4DD7-BB22-DE69CD09F603}" dt="2022-10-04T11:11:50.493" v="121" actId="14100"/>
        <pc:sldMkLst>
          <pc:docMk/>
          <pc:sldMk cId="3879970485" sldId="688"/>
        </pc:sldMkLst>
        <pc:picChg chg="del">
          <ac:chgData name="Tony M P" userId="ae1e3ab533ed63fd" providerId="LiveId" clId="{493E34BF-8A97-4DD7-BB22-DE69CD09F603}" dt="2022-10-04T11:11:20.757" v="117" actId="478"/>
          <ac:picMkLst>
            <pc:docMk/>
            <pc:sldMk cId="3879970485" sldId="688"/>
            <ac:picMk id="3" creationId="{B4E4EC1C-D043-E90B-2A12-6B2C270EA985}"/>
          </ac:picMkLst>
        </pc:picChg>
        <pc:picChg chg="add mod">
          <ac:chgData name="Tony M P" userId="ae1e3ab533ed63fd" providerId="LiveId" clId="{493E34BF-8A97-4DD7-BB22-DE69CD09F603}" dt="2022-10-04T11:11:50.493" v="121" actId="14100"/>
          <ac:picMkLst>
            <pc:docMk/>
            <pc:sldMk cId="3879970485" sldId="688"/>
            <ac:picMk id="4" creationId="{31C34A0A-9D28-29E5-BB4F-20BC84A55975}"/>
          </ac:picMkLst>
        </pc:picChg>
      </pc:sldChg>
      <pc:sldChg chg="addSp delSp mod">
        <pc:chgData name="Tony M P" userId="ae1e3ab533ed63fd" providerId="LiveId" clId="{493E34BF-8A97-4DD7-BB22-DE69CD09F603}" dt="2022-10-04T11:13:07.414" v="123"/>
        <pc:sldMkLst>
          <pc:docMk/>
          <pc:sldMk cId="1313021450" sldId="689"/>
        </pc:sldMkLst>
        <pc:picChg chg="add">
          <ac:chgData name="Tony M P" userId="ae1e3ab533ed63fd" providerId="LiveId" clId="{493E34BF-8A97-4DD7-BB22-DE69CD09F603}" dt="2022-10-04T11:13:07.414" v="123"/>
          <ac:picMkLst>
            <pc:docMk/>
            <pc:sldMk cId="1313021450" sldId="689"/>
            <ac:picMk id="3" creationId="{3F28CF62-8D57-31F8-4464-DBE84DC64BB2}"/>
          </ac:picMkLst>
        </pc:picChg>
        <pc:picChg chg="del">
          <ac:chgData name="Tony M P" userId="ae1e3ab533ed63fd" providerId="LiveId" clId="{493E34BF-8A97-4DD7-BB22-DE69CD09F603}" dt="2022-10-04T11:12:18.443" v="122" actId="478"/>
          <ac:picMkLst>
            <pc:docMk/>
            <pc:sldMk cId="1313021450" sldId="689"/>
            <ac:picMk id="4" creationId="{31C34A0A-9D28-29E5-BB4F-20BC84A55975}"/>
          </ac:picMkLst>
        </pc:picChg>
      </pc:sldChg>
      <pc:sldChg chg="del">
        <pc:chgData name="Tony M P" userId="ae1e3ab533ed63fd" providerId="LiveId" clId="{493E34BF-8A97-4DD7-BB22-DE69CD09F603}" dt="2022-10-04T11:01:55.103" v="96" actId="47"/>
        <pc:sldMkLst>
          <pc:docMk/>
          <pc:sldMk cId="3213511992" sldId="689"/>
        </pc:sldMkLst>
      </pc:sldChg>
      <pc:sldChg chg="del">
        <pc:chgData name="Tony M P" userId="ae1e3ab533ed63fd" providerId="LiveId" clId="{493E34BF-8A97-4DD7-BB22-DE69CD09F603}" dt="2022-10-04T11:01:55.770" v="97" actId="47"/>
        <pc:sldMkLst>
          <pc:docMk/>
          <pc:sldMk cId="3761591165" sldId="690"/>
        </pc:sldMkLst>
      </pc:sldChg>
      <pc:sldChg chg="addSp delSp modSp mod">
        <pc:chgData name="Tony M P" userId="ae1e3ab533ed63fd" providerId="LiveId" clId="{493E34BF-8A97-4DD7-BB22-DE69CD09F603}" dt="2022-10-04T11:14:21.898" v="128" actId="14100"/>
        <pc:sldMkLst>
          <pc:docMk/>
          <pc:sldMk cId="3833502476" sldId="690"/>
        </pc:sldMkLst>
        <pc:picChg chg="del">
          <ac:chgData name="Tony M P" userId="ae1e3ab533ed63fd" providerId="LiveId" clId="{493E34BF-8A97-4DD7-BB22-DE69CD09F603}" dt="2022-10-04T11:13:52.934" v="124" actId="478"/>
          <ac:picMkLst>
            <pc:docMk/>
            <pc:sldMk cId="3833502476" sldId="690"/>
            <ac:picMk id="3" creationId="{3F28CF62-8D57-31F8-4464-DBE84DC64BB2}"/>
          </ac:picMkLst>
        </pc:picChg>
        <pc:picChg chg="add del">
          <ac:chgData name="Tony M P" userId="ae1e3ab533ed63fd" providerId="LiveId" clId="{493E34BF-8A97-4DD7-BB22-DE69CD09F603}" dt="2022-10-04T11:14:06.318" v="126" actId="478"/>
          <ac:picMkLst>
            <pc:docMk/>
            <pc:sldMk cId="3833502476" sldId="690"/>
            <ac:picMk id="4" creationId="{90640768-44E0-8FCE-F8B7-6B7B47225EF0}"/>
          </ac:picMkLst>
        </pc:picChg>
        <pc:picChg chg="add mod">
          <ac:chgData name="Tony M P" userId="ae1e3ab533ed63fd" providerId="LiveId" clId="{493E34BF-8A97-4DD7-BB22-DE69CD09F603}" dt="2022-10-04T11:14:21.898" v="128" actId="14100"/>
          <ac:picMkLst>
            <pc:docMk/>
            <pc:sldMk cId="3833502476" sldId="690"/>
            <ac:picMk id="6" creationId="{1CA9D68F-3454-11AF-6512-E31DC4F0DF05}"/>
          </ac:picMkLst>
        </pc:picChg>
      </pc:sldChg>
      <pc:sldChg chg="del">
        <pc:chgData name="Tony M P" userId="ae1e3ab533ed63fd" providerId="LiveId" clId="{493E34BF-8A97-4DD7-BB22-DE69CD09F603}" dt="2022-10-04T11:01:56.021" v="98" actId="47"/>
        <pc:sldMkLst>
          <pc:docMk/>
          <pc:sldMk cId="358748743" sldId="691"/>
        </pc:sldMkLst>
      </pc:sldChg>
      <pc:sldChg chg="addSp delSp modSp mod">
        <pc:chgData name="Tony M P" userId="ae1e3ab533ed63fd" providerId="LiveId" clId="{493E34BF-8A97-4DD7-BB22-DE69CD09F603}" dt="2022-10-04T11:31:39.239" v="138" actId="1076"/>
        <pc:sldMkLst>
          <pc:docMk/>
          <pc:sldMk cId="394765157" sldId="691"/>
        </pc:sldMkLst>
        <pc:picChg chg="add mod">
          <ac:chgData name="Tony M P" userId="ae1e3ab533ed63fd" providerId="LiveId" clId="{493E34BF-8A97-4DD7-BB22-DE69CD09F603}" dt="2022-10-04T11:29:11.211" v="133" actId="1076"/>
          <ac:picMkLst>
            <pc:docMk/>
            <pc:sldMk cId="394765157" sldId="691"/>
            <ac:picMk id="3" creationId="{571F46EC-085D-A521-9D92-CF8D5A17A14A}"/>
          </ac:picMkLst>
        </pc:picChg>
        <pc:picChg chg="add del mod">
          <ac:chgData name="Tony M P" userId="ae1e3ab533ed63fd" providerId="LiveId" clId="{493E34BF-8A97-4DD7-BB22-DE69CD09F603}" dt="2022-10-04T11:29:45.857" v="136" actId="478"/>
          <ac:picMkLst>
            <pc:docMk/>
            <pc:sldMk cId="394765157" sldId="691"/>
            <ac:picMk id="4" creationId="{42B73255-B557-A4E0-6852-9B34B9944BB3}"/>
          </ac:picMkLst>
        </pc:picChg>
        <pc:picChg chg="del">
          <ac:chgData name="Tony M P" userId="ae1e3ab533ed63fd" providerId="LiveId" clId="{493E34BF-8A97-4DD7-BB22-DE69CD09F603}" dt="2022-10-04T11:26:48.264" v="129" actId="478"/>
          <ac:picMkLst>
            <pc:docMk/>
            <pc:sldMk cId="394765157" sldId="691"/>
            <ac:picMk id="6" creationId="{1CA9D68F-3454-11AF-6512-E31DC4F0DF05}"/>
          </ac:picMkLst>
        </pc:picChg>
        <pc:picChg chg="add mod">
          <ac:chgData name="Tony M P" userId="ae1e3ab533ed63fd" providerId="LiveId" clId="{493E34BF-8A97-4DD7-BB22-DE69CD09F603}" dt="2022-10-04T11:31:39.239" v="138" actId="1076"/>
          <ac:picMkLst>
            <pc:docMk/>
            <pc:sldMk cId="394765157" sldId="691"/>
            <ac:picMk id="7" creationId="{D052BC2F-0283-8443-F2DF-FB0FCD47B289}"/>
          </ac:picMkLst>
        </pc:picChg>
      </pc:sldChg>
      <pc:sldChg chg="del">
        <pc:chgData name="Tony M P" userId="ae1e3ab533ed63fd" providerId="LiveId" clId="{493E34BF-8A97-4DD7-BB22-DE69CD09F603}" dt="2022-10-04T11:11:08.666" v="116" actId="47"/>
        <pc:sldMkLst>
          <pc:docMk/>
          <pc:sldMk cId="3175568609" sldId="692"/>
        </pc:sldMkLst>
      </pc:sldChg>
      <pc:sldChg chg="addSp delSp modSp mod">
        <pc:chgData name="Tony M P" userId="ae1e3ab533ed63fd" providerId="LiveId" clId="{493E34BF-8A97-4DD7-BB22-DE69CD09F603}" dt="2022-10-04T11:33:27.694" v="141" actId="1076"/>
        <pc:sldMkLst>
          <pc:docMk/>
          <pc:sldMk cId="4057756800" sldId="692"/>
        </pc:sldMkLst>
        <pc:picChg chg="add mod">
          <ac:chgData name="Tony M P" userId="ae1e3ab533ed63fd" providerId="LiveId" clId="{493E34BF-8A97-4DD7-BB22-DE69CD09F603}" dt="2022-10-04T11:33:27.694" v="141" actId="1076"/>
          <ac:picMkLst>
            <pc:docMk/>
            <pc:sldMk cId="4057756800" sldId="692"/>
            <ac:picMk id="3" creationId="{F40E9B9A-C44A-BCE2-FECA-A38BD91F63A4}"/>
          </ac:picMkLst>
        </pc:picChg>
        <pc:picChg chg="del">
          <ac:chgData name="Tony M P" userId="ae1e3ab533ed63fd" providerId="LiveId" clId="{493E34BF-8A97-4DD7-BB22-DE69CD09F603}" dt="2022-10-04T11:33:13.903" v="139" actId="478"/>
          <ac:picMkLst>
            <pc:docMk/>
            <pc:sldMk cId="4057756800" sldId="692"/>
            <ac:picMk id="6" creationId="{1CA9D68F-3454-11AF-6512-E31DC4F0DF05}"/>
          </ac:picMkLst>
        </pc:picChg>
      </pc:sldChg>
      <pc:sldChg chg="delSp del mod">
        <pc:chgData name="Tony M P" userId="ae1e3ab533ed63fd" providerId="LiveId" clId="{493E34BF-8A97-4DD7-BB22-DE69CD09F603}" dt="2022-10-05T11:50:03.785" v="712" actId="47"/>
        <pc:sldMkLst>
          <pc:docMk/>
          <pc:sldMk cId="991687231" sldId="693"/>
        </pc:sldMkLst>
        <pc:picChg chg="del">
          <ac:chgData name="Tony M P" userId="ae1e3ab533ed63fd" providerId="LiveId" clId="{493E34BF-8A97-4DD7-BB22-DE69CD09F603}" dt="2022-10-04T11:34:23.963" v="142" actId="478"/>
          <ac:picMkLst>
            <pc:docMk/>
            <pc:sldMk cId="991687231" sldId="693"/>
            <ac:picMk id="3" creationId="{F40E9B9A-C44A-BCE2-FECA-A38BD91F63A4}"/>
          </ac:picMkLst>
        </pc:picChg>
      </pc:sldChg>
      <pc:sldChg chg="addSp modSp mod">
        <pc:chgData name="Tony M P" userId="ae1e3ab533ed63fd" providerId="LiveId" clId="{493E34BF-8A97-4DD7-BB22-DE69CD09F603}" dt="2022-10-04T13:56:35.500" v="186" actId="14100"/>
        <pc:sldMkLst>
          <pc:docMk/>
          <pc:sldMk cId="2054227797" sldId="694"/>
        </pc:sldMkLst>
        <pc:picChg chg="add mod">
          <ac:chgData name="Tony M P" userId="ae1e3ab533ed63fd" providerId="LiveId" clId="{493E34BF-8A97-4DD7-BB22-DE69CD09F603}" dt="2022-10-04T13:56:10.724" v="181" actId="1076"/>
          <ac:picMkLst>
            <pc:docMk/>
            <pc:sldMk cId="2054227797" sldId="694"/>
            <ac:picMk id="4" creationId="{A53AD36C-47BC-39A5-2C8F-D4734F28500E}"/>
          </ac:picMkLst>
        </pc:picChg>
        <pc:picChg chg="add mod">
          <ac:chgData name="Tony M P" userId="ae1e3ab533ed63fd" providerId="LiveId" clId="{493E34BF-8A97-4DD7-BB22-DE69CD09F603}" dt="2022-10-04T13:56:35.500" v="186" actId="14100"/>
          <ac:picMkLst>
            <pc:docMk/>
            <pc:sldMk cId="2054227797" sldId="694"/>
            <ac:picMk id="7" creationId="{AE0F9459-E323-D1DF-C032-B3B3A771ECA5}"/>
          </ac:picMkLst>
        </pc:picChg>
      </pc:sldChg>
      <pc:sldChg chg="addSp modSp mod">
        <pc:chgData name="Tony M P" userId="ae1e3ab533ed63fd" providerId="LiveId" clId="{493E34BF-8A97-4DD7-BB22-DE69CD09F603}" dt="2022-10-04T13:52:17.556" v="168" actId="14100"/>
        <pc:sldMkLst>
          <pc:docMk/>
          <pc:sldMk cId="3296739579" sldId="695"/>
        </pc:sldMkLst>
        <pc:picChg chg="add mod">
          <ac:chgData name="Tony M P" userId="ae1e3ab533ed63fd" providerId="LiveId" clId="{493E34BF-8A97-4DD7-BB22-DE69CD09F603}" dt="2022-10-04T13:52:17.556" v="168" actId="14100"/>
          <ac:picMkLst>
            <pc:docMk/>
            <pc:sldMk cId="3296739579" sldId="695"/>
            <ac:picMk id="4" creationId="{8866E5AA-9CFF-1EF4-61E1-EA8DB167F2D2}"/>
          </ac:picMkLst>
        </pc:picChg>
      </pc:sldChg>
      <pc:sldChg chg="addSp modSp mod">
        <pc:chgData name="Tony M P" userId="ae1e3ab533ed63fd" providerId="LiveId" clId="{493E34BF-8A97-4DD7-BB22-DE69CD09F603}" dt="2022-10-04T13:50:06.601" v="164" actId="14100"/>
        <pc:sldMkLst>
          <pc:docMk/>
          <pc:sldMk cId="974400742" sldId="696"/>
        </pc:sldMkLst>
        <pc:picChg chg="add mod">
          <ac:chgData name="Tony M P" userId="ae1e3ab533ed63fd" providerId="LiveId" clId="{493E34BF-8A97-4DD7-BB22-DE69CD09F603}" dt="2022-10-04T13:50:06.601" v="164" actId="14100"/>
          <ac:picMkLst>
            <pc:docMk/>
            <pc:sldMk cId="974400742" sldId="696"/>
            <ac:picMk id="4" creationId="{8F050453-95F1-1B5B-F2D2-9F7786BCF10E}"/>
          </ac:picMkLst>
        </pc:picChg>
      </pc:sldChg>
      <pc:sldChg chg="addSp modSp mod">
        <pc:chgData name="Tony M P" userId="ae1e3ab533ed63fd" providerId="LiveId" clId="{493E34BF-8A97-4DD7-BB22-DE69CD09F603}" dt="2022-10-04T12:01:35.642" v="160" actId="14100"/>
        <pc:sldMkLst>
          <pc:docMk/>
          <pc:sldMk cId="1225239409" sldId="697"/>
        </pc:sldMkLst>
        <pc:picChg chg="add mod">
          <ac:chgData name="Tony M P" userId="ae1e3ab533ed63fd" providerId="LiveId" clId="{493E34BF-8A97-4DD7-BB22-DE69CD09F603}" dt="2022-10-04T12:01:35.642" v="160" actId="14100"/>
          <ac:picMkLst>
            <pc:docMk/>
            <pc:sldMk cId="1225239409" sldId="697"/>
            <ac:picMk id="4" creationId="{601F1A25-CC4D-5C4E-4174-6B1EF7146C4D}"/>
          </ac:picMkLst>
        </pc:picChg>
      </pc:sldChg>
      <pc:sldChg chg="addSp modSp mod">
        <pc:chgData name="Tony M P" userId="ae1e3ab533ed63fd" providerId="LiveId" clId="{493E34BF-8A97-4DD7-BB22-DE69CD09F603}" dt="2022-10-04T12:00:46.453" v="156" actId="14100"/>
        <pc:sldMkLst>
          <pc:docMk/>
          <pc:sldMk cId="675654432" sldId="698"/>
        </pc:sldMkLst>
        <pc:picChg chg="add mod">
          <ac:chgData name="Tony M P" userId="ae1e3ab533ed63fd" providerId="LiveId" clId="{493E34BF-8A97-4DD7-BB22-DE69CD09F603}" dt="2022-10-04T12:00:46.453" v="156" actId="14100"/>
          <ac:picMkLst>
            <pc:docMk/>
            <pc:sldMk cId="675654432" sldId="698"/>
            <ac:picMk id="4" creationId="{3390C1EE-2712-FF36-5DD6-83F6BA6D999E}"/>
          </ac:picMkLst>
        </pc:picChg>
      </pc:sldChg>
      <pc:sldChg chg="addSp modSp mod">
        <pc:chgData name="Tony M P" userId="ae1e3ab533ed63fd" providerId="LiveId" clId="{493E34BF-8A97-4DD7-BB22-DE69CD09F603}" dt="2022-10-04T11:59:36.258" v="152" actId="1076"/>
        <pc:sldMkLst>
          <pc:docMk/>
          <pc:sldMk cId="2806988840" sldId="699"/>
        </pc:sldMkLst>
        <pc:picChg chg="add mod">
          <ac:chgData name="Tony M P" userId="ae1e3ab533ed63fd" providerId="LiveId" clId="{493E34BF-8A97-4DD7-BB22-DE69CD09F603}" dt="2022-10-04T11:59:36.258" v="152" actId="1076"/>
          <ac:picMkLst>
            <pc:docMk/>
            <pc:sldMk cId="2806988840" sldId="699"/>
            <ac:picMk id="4" creationId="{5EDB6E61-127C-8141-4E34-1D9982ED999E}"/>
          </ac:picMkLst>
        </pc:picChg>
      </pc:sldChg>
      <pc:sldChg chg="addSp modSp mod">
        <pc:chgData name="Tony M P" userId="ae1e3ab533ed63fd" providerId="LiveId" clId="{493E34BF-8A97-4DD7-BB22-DE69CD09F603}" dt="2022-10-04T11:43:27.906" v="150" actId="14100"/>
        <pc:sldMkLst>
          <pc:docMk/>
          <pc:sldMk cId="3484443473" sldId="700"/>
        </pc:sldMkLst>
        <pc:picChg chg="add mod">
          <ac:chgData name="Tony M P" userId="ae1e3ab533ed63fd" providerId="LiveId" clId="{493E34BF-8A97-4DD7-BB22-DE69CD09F603}" dt="2022-10-04T11:43:27.906" v="150" actId="14100"/>
          <ac:picMkLst>
            <pc:docMk/>
            <pc:sldMk cId="3484443473" sldId="700"/>
            <ac:picMk id="4" creationId="{2F46747E-920F-ABC0-398D-7A95C06D1BE8}"/>
          </ac:picMkLst>
        </pc:picChg>
      </pc:sldChg>
      <pc:sldChg chg="addSp modSp mod">
        <pc:chgData name="Tony M P" userId="ae1e3ab533ed63fd" providerId="LiveId" clId="{493E34BF-8A97-4DD7-BB22-DE69CD09F603}" dt="2022-10-04T11:42:17.635" v="147" actId="14100"/>
        <pc:sldMkLst>
          <pc:docMk/>
          <pc:sldMk cId="3021635446" sldId="701"/>
        </pc:sldMkLst>
        <pc:picChg chg="add mod">
          <ac:chgData name="Tony M P" userId="ae1e3ab533ed63fd" providerId="LiveId" clId="{493E34BF-8A97-4DD7-BB22-DE69CD09F603}" dt="2022-10-04T11:42:17.635" v="147" actId="14100"/>
          <ac:picMkLst>
            <pc:docMk/>
            <pc:sldMk cId="3021635446" sldId="701"/>
            <ac:picMk id="4" creationId="{18101C82-11B1-E673-F0F4-890EDAAECA42}"/>
          </ac:picMkLst>
        </pc:picChg>
      </pc:sldChg>
      <pc:sldChg chg="addSp mod">
        <pc:chgData name="Tony M P" userId="ae1e3ab533ed63fd" providerId="LiveId" clId="{493E34BF-8A97-4DD7-BB22-DE69CD09F603}" dt="2022-10-04T11:41:23.766" v="143" actId="22"/>
        <pc:sldMkLst>
          <pc:docMk/>
          <pc:sldMk cId="1124193575" sldId="702"/>
        </pc:sldMkLst>
        <pc:picChg chg="add">
          <ac:chgData name="Tony M P" userId="ae1e3ab533ed63fd" providerId="LiveId" clId="{493E34BF-8A97-4DD7-BB22-DE69CD09F603}" dt="2022-10-04T11:41:23.766" v="143" actId="22"/>
          <ac:picMkLst>
            <pc:docMk/>
            <pc:sldMk cId="1124193575" sldId="702"/>
            <ac:picMk id="4" creationId="{2FF8172D-1DC5-A3C5-A92C-DFEC7939B6BB}"/>
          </ac:picMkLst>
        </pc:picChg>
      </pc:sldChg>
      <pc:sldChg chg="del">
        <pc:chgData name="Tony M P" userId="ae1e3ab533ed63fd" providerId="LiveId" clId="{493E34BF-8A97-4DD7-BB22-DE69CD09F603}" dt="2022-10-05T11:50:02.878" v="711" actId="47"/>
        <pc:sldMkLst>
          <pc:docMk/>
          <pc:sldMk cId="270100515" sldId="703"/>
        </pc:sldMkLst>
      </pc:sldChg>
      <pc:sldChg chg="addSp delSp modSp del mod modClrScheme chgLayout">
        <pc:chgData name="Tony M P" userId="ae1e3ab533ed63fd" providerId="LiveId" clId="{493E34BF-8A97-4DD7-BB22-DE69CD09F603}" dt="2022-10-05T11:49:58.507" v="710" actId="47"/>
        <pc:sldMkLst>
          <pc:docMk/>
          <pc:sldMk cId="1482289886" sldId="704"/>
        </pc:sldMkLst>
        <pc:spChg chg="del mod">
          <ac:chgData name="Tony M P" userId="ae1e3ab533ed63fd" providerId="LiveId" clId="{493E34BF-8A97-4DD7-BB22-DE69CD09F603}" dt="2022-10-04T14:28:47.463" v="304" actId="478"/>
          <ac:spMkLst>
            <pc:docMk/>
            <pc:sldMk cId="1482289886" sldId="704"/>
            <ac:spMk id="2" creationId="{00000000-0000-0000-0000-000000000000}"/>
          </ac:spMkLst>
        </pc:spChg>
        <pc:spChg chg="add del mod ord">
          <ac:chgData name="Tony M P" userId="ae1e3ab533ed63fd" providerId="LiveId" clId="{493E34BF-8A97-4DD7-BB22-DE69CD09F603}" dt="2022-10-04T14:27:48.115" v="299" actId="700"/>
          <ac:spMkLst>
            <pc:docMk/>
            <pc:sldMk cId="1482289886" sldId="704"/>
            <ac:spMk id="3" creationId="{C8B9BE45-2B15-979C-6BBE-E3D5F2558F85}"/>
          </ac:spMkLst>
        </pc:spChg>
        <pc:spChg chg="add del mod ord">
          <ac:chgData name="Tony M P" userId="ae1e3ab533ed63fd" providerId="LiveId" clId="{493E34BF-8A97-4DD7-BB22-DE69CD09F603}" dt="2022-10-04T14:27:48.115" v="299" actId="700"/>
          <ac:spMkLst>
            <pc:docMk/>
            <pc:sldMk cId="1482289886" sldId="704"/>
            <ac:spMk id="4" creationId="{6C644E96-6318-F766-A679-4ACF74CC6250}"/>
          </ac:spMkLst>
        </pc:spChg>
        <pc:spChg chg="add del mod ord">
          <ac:chgData name="Tony M P" userId="ae1e3ab533ed63fd" providerId="LiveId" clId="{493E34BF-8A97-4DD7-BB22-DE69CD09F603}" dt="2022-10-04T14:28:00.562" v="301" actId="700"/>
          <ac:spMkLst>
            <pc:docMk/>
            <pc:sldMk cId="1482289886" sldId="704"/>
            <ac:spMk id="6" creationId="{7CA5AE0F-AB39-C244-0BF5-74ADE0173D8C}"/>
          </ac:spMkLst>
        </pc:spChg>
        <pc:spChg chg="add del mod ord">
          <ac:chgData name="Tony M P" userId="ae1e3ab533ed63fd" providerId="LiveId" clId="{493E34BF-8A97-4DD7-BB22-DE69CD09F603}" dt="2022-10-04T14:28:00.562" v="301" actId="700"/>
          <ac:spMkLst>
            <pc:docMk/>
            <pc:sldMk cId="1482289886" sldId="704"/>
            <ac:spMk id="7" creationId="{DDF27498-C2D5-D333-BECB-7317B1CCAD0D}"/>
          </ac:spMkLst>
        </pc:spChg>
        <pc:spChg chg="add mod ord">
          <ac:chgData name="Tony M P" userId="ae1e3ab533ed63fd" providerId="LiveId" clId="{493E34BF-8A97-4DD7-BB22-DE69CD09F603}" dt="2022-10-04T14:28:56.096" v="305" actId="1076"/>
          <ac:spMkLst>
            <pc:docMk/>
            <pc:sldMk cId="1482289886" sldId="704"/>
            <ac:spMk id="8" creationId="{AFEAFF03-77DF-73FA-23AF-CD205B98352A}"/>
          </ac:spMkLst>
        </pc:spChg>
        <pc:spChg chg="add mod ord">
          <ac:chgData name="Tony M P" userId="ae1e3ab533ed63fd" providerId="LiveId" clId="{493E34BF-8A97-4DD7-BB22-DE69CD09F603}" dt="2022-10-04T17:01:38.239" v="630" actId="20577"/>
          <ac:spMkLst>
            <pc:docMk/>
            <pc:sldMk cId="1482289886" sldId="704"/>
            <ac:spMk id="9" creationId="{B1825F0B-C504-724C-6D62-855A3BE46BBF}"/>
          </ac:spMkLst>
        </pc:spChg>
        <pc:spChg chg="add mod ord">
          <ac:chgData name="Tony M P" userId="ae1e3ab533ed63fd" providerId="LiveId" clId="{493E34BF-8A97-4DD7-BB22-DE69CD09F603}" dt="2022-10-04T17:03:00.024" v="699" actId="20577"/>
          <ac:spMkLst>
            <pc:docMk/>
            <pc:sldMk cId="1482289886" sldId="704"/>
            <ac:spMk id="10" creationId="{366DF1CE-D3BF-3288-3D8E-7B48AF21D0D2}"/>
          </ac:spMkLst>
        </pc:spChg>
      </pc:sldChg>
      <pc:sldChg chg="addSp modSp mod">
        <pc:chgData name="Tony M P" userId="ae1e3ab533ed63fd" providerId="LiveId" clId="{493E34BF-8A97-4DD7-BB22-DE69CD09F603}" dt="2022-10-04T14:22:25.960" v="245" actId="14100"/>
        <pc:sldMkLst>
          <pc:docMk/>
          <pc:sldMk cId="516755341" sldId="705"/>
        </pc:sldMkLst>
        <pc:picChg chg="add mod">
          <ac:chgData name="Tony M P" userId="ae1e3ab533ed63fd" providerId="LiveId" clId="{493E34BF-8A97-4DD7-BB22-DE69CD09F603}" dt="2022-10-04T14:22:25.960" v="245" actId="14100"/>
          <ac:picMkLst>
            <pc:docMk/>
            <pc:sldMk cId="516755341" sldId="705"/>
            <ac:picMk id="4" creationId="{2D644505-789D-E097-3F5D-0FD45355A592}"/>
          </ac:picMkLst>
        </pc:picChg>
      </pc:sldChg>
      <pc:sldChg chg="addSp modSp mod">
        <pc:chgData name="Tony M P" userId="ae1e3ab533ed63fd" providerId="LiveId" clId="{493E34BF-8A97-4DD7-BB22-DE69CD09F603}" dt="2022-10-04T14:17:53.922" v="204" actId="14100"/>
        <pc:sldMkLst>
          <pc:docMk/>
          <pc:sldMk cId="1182721205" sldId="706"/>
        </pc:sldMkLst>
        <pc:picChg chg="add mod">
          <ac:chgData name="Tony M P" userId="ae1e3ab533ed63fd" providerId="LiveId" clId="{493E34BF-8A97-4DD7-BB22-DE69CD09F603}" dt="2022-10-04T14:17:53.922" v="204" actId="14100"/>
          <ac:picMkLst>
            <pc:docMk/>
            <pc:sldMk cId="1182721205" sldId="706"/>
            <ac:picMk id="4" creationId="{7D7A5AA6-DF7A-E913-D850-D72A8820630A}"/>
          </ac:picMkLst>
        </pc:picChg>
      </pc:sldChg>
      <pc:sldChg chg="addSp modSp mod">
        <pc:chgData name="Tony M P" userId="ae1e3ab533ed63fd" providerId="LiveId" clId="{493E34BF-8A97-4DD7-BB22-DE69CD09F603}" dt="2022-10-04T14:06:57.499" v="201" actId="14100"/>
        <pc:sldMkLst>
          <pc:docMk/>
          <pc:sldMk cId="3434116006" sldId="707"/>
        </pc:sldMkLst>
        <pc:picChg chg="add mod">
          <ac:chgData name="Tony M P" userId="ae1e3ab533ed63fd" providerId="LiveId" clId="{493E34BF-8A97-4DD7-BB22-DE69CD09F603}" dt="2022-10-04T14:06:57.499" v="201" actId="14100"/>
          <ac:picMkLst>
            <pc:docMk/>
            <pc:sldMk cId="3434116006" sldId="707"/>
            <ac:picMk id="4" creationId="{CC47A4A5-9D05-A55A-C9F8-FED17813BE76}"/>
          </ac:picMkLst>
        </pc:picChg>
      </pc:sldChg>
      <pc:sldChg chg="addSp modSp mod">
        <pc:chgData name="Tony M P" userId="ae1e3ab533ed63fd" providerId="LiveId" clId="{493E34BF-8A97-4DD7-BB22-DE69CD09F603}" dt="2022-10-04T14:05:23.550" v="198" actId="14100"/>
        <pc:sldMkLst>
          <pc:docMk/>
          <pc:sldMk cId="687470916" sldId="708"/>
        </pc:sldMkLst>
        <pc:picChg chg="add mod">
          <ac:chgData name="Tony M P" userId="ae1e3ab533ed63fd" providerId="LiveId" clId="{493E34BF-8A97-4DD7-BB22-DE69CD09F603}" dt="2022-10-04T14:05:23.550" v="198" actId="14100"/>
          <ac:picMkLst>
            <pc:docMk/>
            <pc:sldMk cId="687470916" sldId="708"/>
            <ac:picMk id="4" creationId="{634C2E00-6442-9675-96A6-F4318DEDA3E3}"/>
          </ac:picMkLst>
        </pc:picChg>
      </pc:sldChg>
      <pc:sldChg chg="addSp modSp mod">
        <pc:chgData name="Tony M P" userId="ae1e3ab533ed63fd" providerId="LiveId" clId="{493E34BF-8A97-4DD7-BB22-DE69CD09F603}" dt="2022-10-04T14:02:23.415" v="195" actId="14100"/>
        <pc:sldMkLst>
          <pc:docMk/>
          <pc:sldMk cId="1549845090" sldId="709"/>
        </pc:sldMkLst>
        <pc:picChg chg="add mod">
          <ac:chgData name="Tony M P" userId="ae1e3ab533ed63fd" providerId="LiveId" clId="{493E34BF-8A97-4DD7-BB22-DE69CD09F603}" dt="2022-10-04T14:02:23.415" v="195" actId="14100"/>
          <ac:picMkLst>
            <pc:docMk/>
            <pc:sldMk cId="1549845090" sldId="709"/>
            <ac:picMk id="4" creationId="{1801FDC1-CBF7-E264-A657-C68E933216D9}"/>
          </ac:picMkLst>
        </pc:picChg>
      </pc:sldChg>
      <pc:sldChg chg="addSp modSp mod">
        <pc:chgData name="Tony M P" userId="ae1e3ab533ed63fd" providerId="LiveId" clId="{493E34BF-8A97-4DD7-BB22-DE69CD09F603}" dt="2022-10-04T14:00:44.162" v="190" actId="1076"/>
        <pc:sldMkLst>
          <pc:docMk/>
          <pc:sldMk cId="1248066822" sldId="710"/>
        </pc:sldMkLst>
        <pc:picChg chg="add mod">
          <ac:chgData name="Tony M P" userId="ae1e3ab533ed63fd" providerId="LiveId" clId="{493E34BF-8A97-4DD7-BB22-DE69CD09F603}" dt="2022-10-04T14:00:44.162" v="190" actId="1076"/>
          <ac:picMkLst>
            <pc:docMk/>
            <pc:sldMk cId="1248066822" sldId="710"/>
            <ac:picMk id="4" creationId="{C7C1F4C9-7816-DA9D-418B-4B7D8ACB97AB}"/>
          </ac:picMkLst>
        </pc:picChg>
      </pc:sldChg>
      <pc:sldChg chg="modSp mod">
        <pc:chgData name="Tony M P" userId="ae1e3ab533ed63fd" providerId="LiveId" clId="{493E34BF-8A97-4DD7-BB22-DE69CD09F603}" dt="2022-10-04T14:20:02.759" v="242" actId="20577"/>
        <pc:sldMkLst>
          <pc:docMk/>
          <pc:sldMk cId="3941453514" sldId="711"/>
        </pc:sldMkLst>
        <pc:spChg chg="mod">
          <ac:chgData name="Tony M P" userId="ae1e3ab533ed63fd" providerId="LiveId" clId="{493E34BF-8A97-4DD7-BB22-DE69CD09F603}" dt="2022-10-04T14:20:02.759" v="242" actId="20577"/>
          <ac:spMkLst>
            <pc:docMk/>
            <pc:sldMk cId="3941453514" sldId="711"/>
            <ac:spMk id="3" creationId="{00000000-0000-0000-0000-000000000000}"/>
          </ac:spMkLst>
        </pc:spChg>
      </pc:sldChg>
      <pc:sldChg chg="modSp del mod">
        <pc:chgData name="Tony M P" userId="ae1e3ab533ed63fd" providerId="LiveId" clId="{493E34BF-8A97-4DD7-BB22-DE69CD09F603}" dt="2022-10-05T11:49:57.912" v="709" actId="47"/>
        <pc:sldMkLst>
          <pc:docMk/>
          <pc:sldMk cId="341993220" sldId="712"/>
        </pc:sldMkLst>
        <pc:spChg chg="mod">
          <ac:chgData name="Tony M P" userId="ae1e3ab533ed63fd" providerId="LiveId" clId="{493E34BF-8A97-4DD7-BB22-DE69CD09F603}" dt="2022-10-04T14:27:09.696" v="275" actId="20577"/>
          <ac:spMkLst>
            <pc:docMk/>
            <pc:sldMk cId="341993220" sldId="712"/>
            <ac:spMk id="3" creationId="{00000000-0000-0000-0000-000000000000}"/>
          </ac:spMkLst>
        </pc:spChg>
      </pc:sldChg>
      <pc:sldChg chg="modSp mod">
        <pc:chgData name="Tony M P" userId="ae1e3ab533ed63fd" providerId="LiveId" clId="{493E34BF-8A97-4DD7-BB22-DE69CD09F603}" dt="2022-10-04T16:43:49.161" v="390" actId="20577"/>
        <pc:sldMkLst>
          <pc:docMk/>
          <pc:sldMk cId="3417295156" sldId="713"/>
        </pc:sldMkLst>
        <pc:spChg chg="mod">
          <ac:chgData name="Tony M P" userId="ae1e3ab533ed63fd" providerId="LiveId" clId="{493E34BF-8A97-4DD7-BB22-DE69CD09F603}" dt="2022-10-04T16:43:49.161" v="390" actId="20577"/>
          <ac:spMkLst>
            <pc:docMk/>
            <pc:sldMk cId="3417295156" sldId="713"/>
            <ac:spMk id="3" creationId="{00000000-0000-0000-0000-000000000000}"/>
          </ac:spMkLst>
        </pc:spChg>
      </pc:sldChg>
      <pc:sldChg chg="addSp delSp modSp mod">
        <pc:chgData name="Tony M P" userId="ae1e3ab533ed63fd" providerId="LiveId" clId="{493E34BF-8A97-4DD7-BB22-DE69CD09F603}" dt="2022-10-06T15:44:41.674" v="774" actId="14100"/>
        <pc:sldMkLst>
          <pc:docMk/>
          <pc:sldMk cId="1855939972" sldId="714"/>
        </pc:sldMkLst>
        <pc:spChg chg="mod">
          <ac:chgData name="Tony M P" userId="ae1e3ab533ed63fd" providerId="LiveId" clId="{493E34BF-8A97-4DD7-BB22-DE69CD09F603}" dt="2022-10-04T15:26:10.491" v="365" actId="20577"/>
          <ac:spMkLst>
            <pc:docMk/>
            <pc:sldMk cId="1855939972" sldId="714"/>
            <ac:spMk id="2" creationId="{00000000-0000-0000-0000-000000000000}"/>
          </ac:spMkLst>
        </pc:spChg>
        <pc:picChg chg="del">
          <ac:chgData name="Tony M P" userId="ae1e3ab533ed63fd" providerId="LiveId" clId="{493E34BF-8A97-4DD7-BB22-DE69CD09F603}" dt="2022-10-04T15:26:14.691" v="366" actId="478"/>
          <ac:picMkLst>
            <pc:docMk/>
            <pc:sldMk cId="1855939972" sldId="714"/>
            <ac:picMk id="3" creationId="{B4E4EC1C-D043-E90B-2A12-6B2C270EA985}"/>
          </ac:picMkLst>
        </pc:picChg>
        <pc:picChg chg="add mod">
          <ac:chgData name="Tony M P" userId="ae1e3ab533ed63fd" providerId="LiveId" clId="{493E34BF-8A97-4DD7-BB22-DE69CD09F603}" dt="2022-10-04T15:28:08.361" v="378" actId="1076"/>
          <ac:picMkLst>
            <pc:docMk/>
            <pc:sldMk cId="1855939972" sldId="714"/>
            <ac:picMk id="4" creationId="{BD9B578F-A3BA-B786-80C9-516FCA9D09ED}"/>
          </ac:picMkLst>
        </pc:picChg>
        <pc:picChg chg="add mod">
          <ac:chgData name="Tony M P" userId="ae1e3ab533ed63fd" providerId="LiveId" clId="{493E34BF-8A97-4DD7-BB22-DE69CD09F603}" dt="2022-10-05T12:06:46.963" v="728" actId="1076"/>
          <ac:picMkLst>
            <pc:docMk/>
            <pc:sldMk cId="1855939972" sldId="714"/>
            <ac:picMk id="6" creationId="{3205322C-5520-A692-41B1-5416E31E4B3A}"/>
          </ac:picMkLst>
        </pc:picChg>
        <pc:picChg chg="add mod">
          <ac:chgData name="Tony M P" userId="ae1e3ab533ed63fd" providerId="LiveId" clId="{493E34BF-8A97-4DD7-BB22-DE69CD09F603}" dt="2022-10-06T15:44:41.674" v="774" actId="14100"/>
          <ac:picMkLst>
            <pc:docMk/>
            <pc:sldMk cId="1855939972" sldId="714"/>
            <ac:picMk id="7" creationId="{0C88FC3E-7725-83F3-2CFA-C9EBCDEE2C91}"/>
          </ac:picMkLst>
        </pc:picChg>
        <pc:picChg chg="add del mod">
          <ac:chgData name="Tony M P" userId="ae1e3ab533ed63fd" providerId="LiveId" clId="{493E34BF-8A97-4DD7-BB22-DE69CD09F603}" dt="2022-10-06T15:43:50.364" v="767" actId="478"/>
          <ac:picMkLst>
            <pc:docMk/>
            <pc:sldMk cId="1855939972" sldId="714"/>
            <ac:picMk id="8" creationId="{05C87726-523B-7F0B-D96A-EABB3C28485C}"/>
          </ac:picMkLst>
        </pc:picChg>
      </pc:sldChg>
      <pc:sldChg chg="addSp delSp modSp mod ord">
        <pc:chgData name="Tony M P" userId="ae1e3ab533ed63fd" providerId="LiveId" clId="{493E34BF-8A97-4DD7-BB22-DE69CD09F603}" dt="2022-10-06T15:43:36.960" v="766" actId="14100"/>
        <pc:sldMkLst>
          <pc:docMk/>
          <pc:sldMk cId="250500142" sldId="715"/>
        </pc:sldMkLst>
        <pc:picChg chg="add mod">
          <ac:chgData name="Tony M P" userId="ae1e3ab533ed63fd" providerId="LiveId" clId="{493E34BF-8A97-4DD7-BB22-DE69CD09F603}" dt="2022-10-04T15:27:19.942" v="372" actId="1076"/>
          <ac:picMkLst>
            <pc:docMk/>
            <pc:sldMk cId="250500142" sldId="715"/>
            <ac:picMk id="3" creationId="{0B3F8DF8-7F86-6D9C-C635-4785B3FF4317}"/>
          </ac:picMkLst>
        </pc:picChg>
        <pc:picChg chg="add mod">
          <ac:chgData name="Tony M P" userId="ae1e3ab533ed63fd" providerId="LiveId" clId="{493E34BF-8A97-4DD7-BB22-DE69CD09F603}" dt="2022-10-05T12:00:24.027" v="718" actId="14100"/>
          <ac:picMkLst>
            <pc:docMk/>
            <pc:sldMk cId="250500142" sldId="715"/>
            <ac:picMk id="6" creationId="{8ECA30C1-8B74-68F3-F517-A9FE4D944825}"/>
          </ac:picMkLst>
        </pc:picChg>
        <pc:picChg chg="add del mod">
          <ac:chgData name="Tony M P" userId="ae1e3ab533ed63fd" providerId="LiveId" clId="{493E34BF-8A97-4DD7-BB22-DE69CD09F603}" dt="2022-10-06T15:40:14.262" v="762" actId="478"/>
          <ac:picMkLst>
            <pc:docMk/>
            <pc:sldMk cId="250500142" sldId="715"/>
            <ac:picMk id="7" creationId="{9289CEFD-9558-6E56-E820-05C41A216C57}"/>
          </ac:picMkLst>
        </pc:picChg>
        <pc:picChg chg="add mod">
          <ac:chgData name="Tony M P" userId="ae1e3ab533ed63fd" providerId="LiveId" clId="{493E34BF-8A97-4DD7-BB22-DE69CD09F603}" dt="2022-10-06T15:43:36.960" v="766" actId="14100"/>
          <ac:picMkLst>
            <pc:docMk/>
            <pc:sldMk cId="250500142" sldId="715"/>
            <ac:picMk id="8" creationId="{82349424-2417-20F4-6A0D-5A6A6AB45C28}"/>
          </ac:picMkLst>
        </pc:picChg>
      </pc:sldChg>
      <pc:sldChg chg="modSp mod">
        <pc:chgData name="Tony M P" userId="ae1e3ab533ed63fd" providerId="LiveId" clId="{493E34BF-8A97-4DD7-BB22-DE69CD09F603}" dt="2022-10-04T16:43:39.388" v="388" actId="20577"/>
        <pc:sldMkLst>
          <pc:docMk/>
          <pc:sldMk cId="3508482249" sldId="716"/>
        </pc:sldMkLst>
        <pc:spChg chg="mod">
          <ac:chgData name="Tony M P" userId="ae1e3ab533ed63fd" providerId="LiveId" clId="{493E34BF-8A97-4DD7-BB22-DE69CD09F603}" dt="2022-10-04T16:43:39.388" v="388" actId="20577"/>
          <ac:spMkLst>
            <pc:docMk/>
            <pc:sldMk cId="3508482249" sldId="716"/>
            <ac:spMk id="3" creationId="{00000000-0000-0000-0000-000000000000}"/>
          </ac:spMkLst>
        </pc:spChg>
      </pc:sldChg>
      <pc:sldChg chg="addSp delSp modSp mod">
        <pc:chgData name="Tony M P" userId="ae1e3ab533ed63fd" providerId="LiveId" clId="{493E34BF-8A97-4DD7-BB22-DE69CD09F603}" dt="2022-10-04T16:45:17.020" v="401" actId="14100"/>
        <pc:sldMkLst>
          <pc:docMk/>
          <pc:sldMk cId="1381006425" sldId="717"/>
        </pc:sldMkLst>
        <pc:spChg chg="mod">
          <ac:chgData name="Tony M P" userId="ae1e3ab533ed63fd" providerId="LiveId" clId="{493E34BF-8A97-4DD7-BB22-DE69CD09F603}" dt="2022-10-04T16:44:08.113" v="396" actId="20577"/>
          <ac:spMkLst>
            <pc:docMk/>
            <pc:sldMk cId="1381006425" sldId="717"/>
            <ac:spMk id="2" creationId="{00000000-0000-0000-0000-000000000000}"/>
          </ac:spMkLst>
        </pc:spChg>
        <pc:picChg chg="del">
          <ac:chgData name="Tony M P" userId="ae1e3ab533ed63fd" providerId="LiveId" clId="{493E34BF-8A97-4DD7-BB22-DE69CD09F603}" dt="2022-10-04T16:44:02.181" v="391" actId="478"/>
          <ac:picMkLst>
            <pc:docMk/>
            <pc:sldMk cId="1381006425" sldId="717"/>
            <ac:picMk id="3" creationId="{0B3F8DF8-7F86-6D9C-C635-4785B3FF4317}"/>
          </ac:picMkLst>
        </pc:picChg>
        <pc:picChg chg="add mod">
          <ac:chgData name="Tony M P" userId="ae1e3ab533ed63fd" providerId="LiveId" clId="{493E34BF-8A97-4DD7-BB22-DE69CD09F603}" dt="2022-10-04T16:45:17.020" v="401" actId="14100"/>
          <ac:picMkLst>
            <pc:docMk/>
            <pc:sldMk cId="1381006425" sldId="717"/>
            <ac:picMk id="4" creationId="{1C74DE3A-B2A5-F7A6-9911-DB49BD8CDFFE}"/>
          </ac:picMkLst>
        </pc:picChg>
      </pc:sldChg>
      <pc:sldChg chg="modSp mod">
        <pc:chgData name="Tony M P" userId="ae1e3ab533ed63fd" providerId="LiveId" clId="{493E34BF-8A97-4DD7-BB22-DE69CD09F603}" dt="2022-10-05T11:46:19.113" v="708" actId="20577"/>
        <pc:sldMkLst>
          <pc:docMk/>
          <pc:sldMk cId="1719205100" sldId="1030"/>
        </pc:sldMkLst>
        <pc:spChg chg="mod">
          <ac:chgData name="Tony M P" userId="ae1e3ab533ed63fd" providerId="LiveId" clId="{493E34BF-8A97-4DD7-BB22-DE69CD09F603}" dt="2022-10-05T11:46:19.113" v="708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addSp delSp modSp mod">
        <pc:chgData name="Tony M P" userId="ae1e3ab533ed63fd" providerId="LiveId" clId="{493E34BF-8A97-4DD7-BB22-DE69CD09F603}" dt="2022-10-05T12:19:40.399" v="757" actId="1076"/>
        <pc:sldMkLst>
          <pc:docMk/>
          <pc:sldMk cId="1638315248" sldId="1082"/>
        </pc:sldMkLst>
        <pc:spChg chg="del">
          <ac:chgData name="Tony M P" userId="ae1e3ab533ed63fd" providerId="LiveId" clId="{493E34BF-8A97-4DD7-BB22-DE69CD09F603}" dt="2022-10-05T12:18:53.341" v="751" actId="478"/>
          <ac:spMkLst>
            <pc:docMk/>
            <pc:sldMk cId="1638315248" sldId="1082"/>
            <ac:spMk id="3" creationId="{00000000-0000-0000-0000-000000000000}"/>
          </ac:spMkLst>
        </pc:spChg>
        <pc:picChg chg="add mod">
          <ac:chgData name="Tony M P" userId="ae1e3ab533ed63fd" providerId="LiveId" clId="{493E34BF-8A97-4DD7-BB22-DE69CD09F603}" dt="2022-10-05T12:19:40.399" v="757" actId="1076"/>
          <ac:picMkLst>
            <pc:docMk/>
            <pc:sldMk cId="1638315248" sldId="1082"/>
            <ac:picMk id="2" creationId="{A2E13B6D-74D5-36A2-678B-C502B10D2327}"/>
          </ac:picMkLst>
        </pc:picChg>
      </pc:sldChg>
      <pc:sldChg chg="addSp delSp modSp del mod">
        <pc:chgData name="Tony M P" userId="ae1e3ab533ed63fd" providerId="LiveId" clId="{493E34BF-8A97-4DD7-BB22-DE69CD09F603}" dt="2022-10-05T12:16:42.155" v="750" actId="47"/>
        <pc:sldMkLst>
          <pc:docMk/>
          <pc:sldMk cId="2023423758" sldId="1082"/>
        </pc:sldMkLst>
        <pc:spChg chg="del">
          <ac:chgData name="Tony M P" userId="ae1e3ab533ed63fd" providerId="LiveId" clId="{493E34BF-8A97-4DD7-BB22-DE69CD09F603}" dt="2022-10-05T12:13:35.517" v="734" actId="478"/>
          <ac:spMkLst>
            <pc:docMk/>
            <pc:sldMk cId="2023423758" sldId="1082"/>
            <ac:spMk id="3" creationId="{00000000-0000-0000-0000-000000000000}"/>
          </ac:spMkLst>
        </pc:spChg>
        <pc:spChg chg="add del mod">
          <ac:chgData name="Tony M P" userId="ae1e3ab533ed63fd" providerId="LiveId" clId="{493E34BF-8A97-4DD7-BB22-DE69CD09F603}" dt="2022-10-05T12:16:36.581" v="749" actId="478"/>
          <ac:spMkLst>
            <pc:docMk/>
            <pc:sldMk cId="2023423758" sldId="1082"/>
            <ac:spMk id="5" creationId="{C4671294-33C1-A7CC-9AF1-A94380701E8C}"/>
          </ac:spMkLst>
        </pc:spChg>
      </pc:sldChg>
      <pc:sldChg chg="del">
        <pc:chgData name="Tony M P" userId="ae1e3ab533ed63fd" providerId="LiveId" clId="{493E34BF-8A97-4DD7-BB22-DE69CD09F603}" dt="2022-10-05T12:44:35.503" v="758" actId="47"/>
        <pc:sldMkLst>
          <pc:docMk/>
          <pc:sldMk cId="657194199" sldId="1083"/>
        </pc:sldMkLst>
      </pc:sldChg>
      <pc:sldChg chg="del">
        <pc:chgData name="Tony M P" userId="ae1e3ab533ed63fd" providerId="LiveId" clId="{493E34BF-8A97-4DD7-BB22-DE69CD09F603}" dt="2022-10-05T12:48:49.738" v="759" actId="47"/>
        <pc:sldMkLst>
          <pc:docMk/>
          <pc:sldMk cId="1793074723" sldId="1119"/>
        </pc:sldMkLst>
      </pc:sldChg>
    </pc:docChg>
  </pc:docChgLst>
  <pc:docChgLst>
    <pc:chgData name="Tony M P" userId="ae1e3ab533ed63fd" providerId="LiveId" clId="{B13B76A0-1D1D-4301-A467-14607568E382}"/>
    <pc:docChg chg="custSel delSld modSld">
      <pc:chgData name="Tony M P" userId="ae1e3ab533ed63fd" providerId="LiveId" clId="{B13B76A0-1D1D-4301-A467-14607568E382}" dt="2022-11-01T23:37:27.098" v="25" actId="47"/>
      <pc:docMkLst>
        <pc:docMk/>
      </pc:docMkLst>
      <pc:sldChg chg="del">
        <pc:chgData name="Tony M P" userId="ae1e3ab533ed63fd" providerId="LiveId" clId="{B13B76A0-1D1D-4301-A467-14607568E382}" dt="2022-11-01T23:37:26.461" v="24" actId="47"/>
        <pc:sldMkLst>
          <pc:docMk/>
          <pc:sldMk cId="381884808" sldId="472"/>
        </pc:sldMkLst>
      </pc:sldChg>
      <pc:sldChg chg="modSp mod">
        <pc:chgData name="Tony M P" userId="ae1e3ab533ed63fd" providerId="LiveId" clId="{B13B76A0-1D1D-4301-A467-14607568E382}" dt="2022-11-01T23:37:15.226" v="23" actId="20577"/>
        <pc:sldMkLst>
          <pc:docMk/>
          <pc:sldMk cId="1719205100" sldId="1030"/>
        </pc:sldMkLst>
        <pc:spChg chg="mod">
          <ac:chgData name="Tony M P" userId="ae1e3ab533ed63fd" providerId="LiveId" clId="{B13B76A0-1D1D-4301-A467-14607568E382}" dt="2022-11-01T23:36:58.806" v="7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B13B76A0-1D1D-4301-A467-14607568E382}" dt="2022-11-01T23:37:15.226" v="23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del">
        <pc:chgData name="Tony M P" userId="ae1e3ab533ed63fd" providerId="LiveId" clId="{B13B76A0-1D1D-4301-A467-14607568E382}" dt="2022-11-01T23:37:27.098" v="25" actId="47"/>
        <pc:sldMkLst>
          <pc:docMk/>
          <pc:sldMk cId="3240290940" sldId="1078"/>
        </pc:sldMkLst>
      </pc:sldChg>
    </pc:docChg>
  </pc:docChgLst>
  <pc:docChgLst>
    <pc:chgData name="Tony M P" userId="ae1e3ab533ed63fd" providerId="LiveId" clId="{93252282-8546-4D04-93C6-B699F18914AD}"/>
    <pc:docChg chg="undo redo custSel addSld delSld modSld">
      <pc:chgData name="Tony M P" userId="ae1e3ab533ed63fd" providerId="LiveId" clId="{93252282-8546-4D04-93C6-B699F18914AD}" dt="2022-10-26T12:51:17.806" v="1150" actId="47"/>
      <pc:docMkLst>
        <pc:docMk/>
      </pc:docMkLst>
      <pc:sldChg chg="addSp delSp modSp mod">
        <pc:chgData name="Tony M P" userId="ae1e3ab533ed63fd" providerId="LiveId" clId="{93252282-8546-4D04-93C6-B699F18914AD}" dt="2022-10-26T02:08:36.022" v="1099" actId="14100"/>
        <pc:sldMkLst>
          <pc:docMk/>
          <pc:sldMk cId="381884808" sldId="472"/>
        </pc:sldMkLst>
        <pc:spChg chg="add del mod">
          <ac:chgData name="Tony M P" userId="ae1e3ab533ed63fd" providerId="LiveId" clId="{93252282-8546-4D04-93C6-B699F18914AD}" dt="2022-10-26T02:06:40.947" v="1097" actId="478"/>
          <ac:spMkLst>
            <pc:docMk/>
            <pc:sldMk cId="381884808" sldId="472"/>
            <ac:spMk id="3" creationId="{9EE418A8-0321-5383-D52F-DAD4D7C1492F}"/>
          </ac:spMkLst>
        </pc:spChg>
        <pc:spChg chg="mod">
          <ac:chgData name="Tony M P" userId="ae1e3ab533ed63fd" providerId="LiveId" clId="{93252282-8546-4D04-93C6-B699F18914AD}" dt="2022-10-26T02:06:32.649" v="1095" actId="20577"/>
          <ac:spMkLst>
            <pc:docMk/>
            <pc:sldMk cId="381884808" sldId="472"/>
            <ac:spMk id="6" creationId="{00000000-0000-0000-0000-000000000000}"/>
          </ac:spMkLst>
        </pc:spChg>
        <pc:spChg chg="del">
          <ac:chgData name="Tony M P" userId="ae1e3ab533ed63fd" providerId="LiveId" clId="{93252282-8546-4D04-93C6-B699F18914AD}" dt="2022-10-26T02:06:37.922" v="1096" actId="478"/>
          <ac:spMkLst>
            <pc:docMk/>
            <pc:sldMk cId="381884808" sldId="472"/>
            <ac:spMk id="7" creationId="{00000000-0000-0000-0000-000000000000}"/>
          </ac:spMkLst>
        </pc:spChg>
        <pc:picChg chg="add mod">
          <ac:chgData name="Tony M P" userId="ae1e3ab533ed63fd" providerId="LiveId" clId="{93252282-8546-4D04-93C6-B699F18914AD}" dt="2022-10-26T02:08:36.022" v="1099" actId="14100"/>
          <ac:picMkLst>
            <pc:docMk/>
            <pc:sldMk cId="381884808" sldId="472"/>
            <ac:picMk id="4" creationId="{2245947F-99E0-C05A-A743-BC9095B356F4}"/>
          </ac:picMkLst>
        </pc:picChg>
      </pc:sldChg>
      <pc:sldChg chg="del">
        <pc:chgData name="Tony M P" userId="ae1e3ab533ed63fd" providerId="LiveId" clId="{93252282-8546-4D04-93C6-B699F18914AD}" dt="2022-10-25T23:48:03.623" v="391" actId="47"/>
        <pc:sldMkLst>
          <pc:docMk/>
          <pc:sldMk cId="339414725" sldId="481"/>
        </pc:sldMkLst>
      </pc:sldChg>
      <pc:sldChg chg="modSp mod">
        <pc:chgData name="Tony M P" userId="ae1e3ab533ed63fd" providerId="LiveId" clId="{93252282-8546-4D04-93C6-B699F18914AD}" dt="2022-10-26T00:11:21.628" v="966" actId="20577"/>
        <pc:sldMkLst>
          <pc:docMk/>
          <pc:sldMk cId="2557385708" sldId="485"/>
        </pc:sldMkLst>
        <pc:spChg chg="mod">
          <ac:chgData name="Tony M P" userId="ae1e3ab533ed63fd" providerId="LiveId" clId="{93252282-8546-4D04-93C6-B699F18914AD}" dt="2022-10-26T00:10:22.348" v="961" actId="20577"/>
          <ac:spMkLst>
            <pc:docMk/>
            <pc:sldMk cId="2557385708" sldId="485"/>
            <ac:spMk id="6" creationId="{00000000-0000-0000-0000-000000000000}"/>
          </ac:spMkLst>
        </pc:spChg>
        <pc:spChg chg="mod">
          <ac:chgData name="Tony M P" userId="ae1e3ab533ed63fd" providerId="LiveId" clId="{93252282-8546-4D04-93C6-B699F18914AD}" dt="2022-10-26T00:11:21.628" v="966" actId="20577"/>
          <ac:spMkLst>
            <pc:docMk/>
            <pc:sldMk cId="2557385708" sldId="485"/>
            <ac:spMk id="7" creationId="{00000000-0000-0000-0000-000000000000}"/>
          </ac:spMkLst>
        </pc:spChg>
      </pc:sldChg>
      <pc:sldChg chg="modSp mod">
        <pc:chgData name="Tony M P" userId="ae1e3ab533ed63fd" providerId="LiveId" clId="{93252282-8546-4D04-93C6-B699F18914AD}" dt="2022-10-26T00:14:37.761" v="984" actId="20577"/>
        <pc:sldMkLst>
          <pc:docMk/>
          <pc:sldMk cId="3344786165" sldId="486"/>
        </pc:sldMkLst>
        <pc:spChg chg="mod">
          <ac:chgData name="Tony M P" userId="ae1e3ab533ed63fd" providerId="LiveId" clId="{93252282-8546-4D04-93C6-B699F18914AD}" dt="2022-10-26T00:14:37.761" v="984" actId="20577"/>
          <ac:spMkLst>
            <pc:docMk/>
            <pc:sldMk cId="3344786165" sldId="486"/>
            <ac:spMk id="6" creationId="{00000000-0000-0000-0000-000000000000}"/>
          </ac:spMkLst>
        </pc:spChg>
      </pc:sldChg>
      <pc:sldChg chg="del">
        <pc:chgData name="Tony M P" userId="ae1e3ab533ed63fd" providerId="LiveId" clId="{93252282-8546-4D04-93C6-B699F18914AD}" dt="2022-10-26T12:51:17.806" v="1150" actId="47"/>
        <pc:sldMkLst>
          <pc:docMk/>
          <pc:sldMk cId="3463219077" sldId="487"/>
        </pc:sldMkLst>
      </pc:sldChg>
      <pc:sldChg chg="modSp mod">
        <pc:chgData name="Tony M P" userId="ae1e3ab533ed63fd" providerId="LiveId" clId="{93252282-8546-4D04-93C6-B699F18914AD}" dt="2022-10-26T00:33:46.424" v="1001" actId="20577"/>
        <pc:sldMkLst>
          <pc:docMk/>
          <pc:sldMk cId="1735358277" sldId="491"/>
        </pc:sldMkLst>
        <pc:spChg chg="mod">
          <ac:chgData name="Tony M P" userId="ae1e3ab533ed63fd" providerId="LiveId" clId="{93252282-8546-4D04-93C6-B699F18914AD}" dt="2022-10-26T00:33:46.424" v="1001" actId="20577"/>
          <ac:spMkLst>
            <pc:docMk/>
            <pc:sldMk cId="1735358277" sldId="491"/>
            <ac:spMk id="3" creationId="{00000000-0000-0000-0000-000000000000}"/>
          </ac:spMkLst>
        </pc:spChg>
      </pc:sldChg>
      <pc:sldChg chg="modSp mod">
        <pc:chgData name="Tony M P" userId="ae1e3ab533ed63fd" providerId="LiveId" clId="{93252282-8546-4D04-93C6-B699F18914AD}" dt="2022-10-26T00:58:25.414" v="1010" actId="6549"/>
        <pc:sldMkLst>
          <pc:docMk/>
          <pc:sldMk cId="3024381252" sldId="538"/>
        </pc:sldMkLst>
        <pc:spChg chg="mod">
          <ac:chgData name="Tony M P" userId="ae1e3ab533ed63fd" providerId="LiveId" clId="{93252282-8546-4D04-93C6-B699F18914AD}" dt="2022-10-26T00:58:25.414" v="1010" actId="6549"/>
          <ac:spMkLst>
            <pc:docMk/>
            <pc:sldMk cId="3024381252" sldId="538"/>
            <ac:spMk id="4" creationId="{00000000-0000-0000-0000-000000000000}"/>
          </ac:spMkLst>
        </pc:spChg>
      </pc:sldChg>
      <pc:sldChg chg="modSp mod">
        <pc:chgData name="Tony M P" userId="ae1e3ab533ed63fd" providerId="LiveId" clId="{93252282-8546-4D04-93C6-B699F18914AD}" dt="2022-10-26T01:01:18.686" v="1073" actId="20577"/>
        <pc:sldMkLst>
          <pc:docMk/>
          <pc:sldMk cId="3345687176" sldId="540"/>
        </pc:sldMkLst>
        <pc:spChg chg="mod">
          <ac:chgData name="Tony M P" userId="ae1e3ab533ed63fd" providerId="LiveId" clId="{93252282-8546-4D04-93C6-B699F18914AD}" dt="2022-10-26T01:01:18.686" v="1073" actId="20577"/>
          <ac:spMkLst>
            <pc:docMk/>
            <pc:sldMk cId="3345687176" sldId="540"/>
            <ac:spMk id="4" creationId="{00000000-0000-0000-0000-000000000000}"/>
          </ac:spMkLst>
        </pc:spChg>
      </pc:sldChg>
      <pc:sldChg chg="modSp mod">
        <pc:chgData name="Tony M P" userId="ae1e3ab533ed63fd" providerId="LiveId" clId="{93252282-8546-4D04-93C6-B699F18914AD}" dt="2022-10-25T12:50:10.371" v="35" actId="20577"/>
        <pc:sldMkLst>
          <pc:docMk/>
          <pc:sldMk cId="1719205100" sldId="1030"/>
        </pc:sldMkLst>
        <pc:spChg chg="mod">
          <ac:chgData name="Tony M P" userId="ae1e3ab533ed63fd" providerId="LiveId" clId="{93252282-8546-4D04-93C6-B699F18914AD}" dt="2022-10-25T12:49:40.463" v="1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93252282-8546-4D04-93C6-B699F18914AD}" dt="2022-10-25T12:50:10.371" v="35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addSp delSp modSp mod">
        <pc:chgData name="Tony M P" userId="ae1e3ab533ed63fd" providerId="LiveId" clId="{93252282-8546-4D04-93C6-B699F18914AD}" dt="2022-10-26T12:37:46.663" v="1104" actId="207"/>
        <pc:sldMkLst>
          <pc:docMk/>
          <pc:sldMk cId="961360128" sldId="1064"/>
        </pc:sldMkLst>
        <pc:spChg chg="add del mod">
          <ac:chgData name="Tony M P" userId="ae1e3ab533ed63fd" providerId="LiveId" clId="{93252282-8546-4D04-93C6-B699F18914AD}" dt="2022-10-25T14:40:01.567" v="75" actId="20577"/>
          <ac:spMkLst>
            <pc:docMk/>
            <pc:sldMk cId="961360128" sldId="1064"/>
            <ac:spMk id="4" creationId="{00000000-0000-0000-0000-000000000000}"/>
          </ac:spMkLst>
        </pc:spChg>
        <pc:spChg chg="add mod">
          <ac:chgData name="Tony M P" userId="ae1e3ab533ed63fd" providerId="LiveId" clId="{93252282-8546-4D04-93C6-B699F18914AD}" dt="2022-10-26T12:37:46.663" v="1104" actId="207"/>
          <ac:spMkLst>
            <pc:docMk/>
            <pc:sldMk cId="961360128" sldId="1064"/>
            <ac:spMk id="7" creationId="{835AF871-001D-0B6B-9E74-950841477D7C}"/>
          </ac:spMkLst>
        </pc:spChg>
        <pc:graphicFrameChg chg="add del mod">
          <ac:chgData name="Tony M P" userId="ae1e3ab533ed63fd" providerId="LiveId" clId="{93252282-8546-4D04-93C6-B699F18914AD}" dt="2022-10-25T14:39:52.757" v="65"/>
          <ac:graphicFrameMkLst>
            <pc:docMk/>
            <pc:sldMk cId="961360128" sldId="1064"/>
            <ac:graphicFrameMk id="3" creationId="{00F936CD-36C1-A68B-C1E7-A95BD4030A75}"/>
          </ac:graphicFrameMkLst>
        </pc:graphicFrameChg>
        <pc:graphicFrameChg chg="add del mod">
          <ac:chgData name="Tony M P" userId="ae1e3ab533ed63fd" providerId="LiveId" clId="{93252282-8546-4D04-93C6-B699F18914AD}" dt="2022-10-25T14:40:06.395" v="77"/>
          <ac:graphicFrameMkLst>
            <pc:docMk/>
            <pc:sldMk cId="961360128" sldId="1064"/>
            <ac:graphicFrameMk id="5" creationId="{A9457D38-DC26-1912-0CAD-68DD95557B78}"/>
          </ac:graphicFrameMkLst>
        </pc:graphicFrameChg>
        <pc:graphicFrameChg chg="add del mod">
          <ac:chgData name="Tony M P" userId="ae1e3ab533ed63fd" providerId="LiveId" clId="{93252282-8546-4D04-93C6-B699F18914AD}" dt="2022-10-25T14:41:39.958" v="89"/>
          <ac:graphicFrameMkLst>
            <pc:docMk/>
            <pc:sldMk cId="961360128" sldId="1064"/>
            <ac:graphicFrameMk id="8" creationId="{F3B3ACD7-664C-3A12-9153-F4F1FB990749}"/>
          </ac:graphicFrameMkLst>
        </pc:graphicFrameChg>
        <pc:graphicFrameChg chg="add del mod">
          <ac:chgData name="Tony M P" userId="ae1e3ab533ed63fd" providerId="LiveId" clId="{93252282-8546-4D04-93C6-B699F18914AD}" dt="2022-10-25T14:41:39.958" v="89"/>
          <ac:graphicFrameMkLst>
            <pc:docMk/>
            <pc:sldMk cId="961360128" sldId="1064"/>
            <ac:graphicFrameMk id="9" creationId="{BB191912-F981-64B3-8B96-955EEA8C878C}"/>
          </ac:graphicFrameMkLst>
        </pc:graphicFrameChg>
      </pc:sldChg>
      <pc:sldChg chg="modSp mod">
        <pc:chgData name="Tony M P" userId="ae1e3ab533ed63fd" providerId="LiveId" clId="{93252282-8546-4D04-93C6-B699F18914AD}" dt="2022-10-25T14:37:14.711" v="61" actId="20577"/>
        <pc:sldMkLst>
          <pc:docMk/>
          <pc:sldMk cId="1732108992" sldId="1065"/>
        </pc:sldMkLst>
        <pc:spChg chg="mod">
          <ac:chgData name="Tony M P" userId="ae1e3ab533ed63fd" providerId="LiveId" clId="{93252282-8546-4D04-93C6-B699F18914AD}" dt="2022-10-25T14:37:14.711" v="61" actId="20577"/>
          <ac:spMkLst>
            <pc:docMk/>
            <pc:sldMk cId="1732108992" sldId="1065"/>
            <ac:spMk id="3" creationId="{00000000-0000-0000-0000-000000000000}"/>
          </ac:spMkLst>
        </pc:spChg>
      </pc:sldChg>
      <pc:sldChg chg="addSp delSp modSp mod">
        <pc:chgData name="Tony M P" userId="ae1e3ab533ed63fd" providerId="LiveId" clId="{93252282-8546-4D04-93C6-B699F18914AD}" dt="2022-10-26T12:38:55.238" v="1113" actId="207"/>
        <pc:sldMkLst>
          <pc:docMk/>
          <pc:sldMk cId="2835146205" sldId="1066"/>
        </pc:sldMkLst>
        <pc:spChg chg="mod">
          <ac:chgData name="Tony M P" userId="ae1e3ab533ed63fd" providerId="LiveId" clId="{93252282-8546-4D04-93C6-B699F18914AD}" dt="2022-10-26T12:38:55.238" v="1113" actId="207"/>
          <ac:spMkLst>
            <pc:docMk/>
            <pc:sldMk cId="2835146205" sldId="1066"/>
            <ac:spMk id="7" creationId="{835AF871-001D-0B6B-9E74-950841477D7C}"/>
          </ac:spMkLst>
        </pc:spChg>
        <pc:graphicFrameChg chg="add del mod">
          <ac:chgData name="Tony M P" userId="ae1e3ab533ed63fd" providerId="LiveId" clId="{93252282-8546-4D04-93C6-B699F18914AD}" dt="2022-10-25T14:42:59.643" v="98"/>
          <ac:graphicFrameMkLst>
            <pc:docMk/>
            <pc:sldMk cId="2835146205" sldId="1066"/>
            <ac:graphicFrameMk id="3" creationId="{43676063-D0AA-6761-D8CF-F32ED2738FF0}"/>
          </ac:graphicFrameMkLst>
        </pc:graphicFrameChg>
      </pc:sldChg>
      <pc:sldChg chg="modSp mod">
        <pc:chgData name="Tony M P" userId="ae1e3ab533ed63fd" providerId="LiveId" clId="{93252282-8546-4D04-93C6-B699F18914AD}" dt="2022-10-26T12:39:57.774" v="1115" actId="207"/>
        <pc:sldMkLst>
          <pc:docMk/>
          <pc:sldMk cId="1433680593" sldId="1067"/>
        </pc:sldMkLst>
        <pc:spChg chg="mod">
          <ac:chgData name="Tony M P" userId="ae1e3ab533ed63fd" providerId="LiveId" clId="{93252282-8546-4D04-93C6-B699F18914AD}" dt="2022-10-26T12:39:57.774" v="1115" actId="207"/>
          <ac:spMkLst>
            <pc:docMk/>
            <pc:sldMk cId="1433680593" sldId="1067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0:25.896" v="1117" actId="207"/>
        <pc:sldMkLst>
          <pc:docMk/>
          <pc:sldMk cId="2634232575" sldId="1068"/>
        </pc:sldMkLst>
        <pc:spChg chg="mod">
          <ac:chgData name="Tony M P" userId="ae1e3ab533ed63fd" providerId="LiveId" clId="{93252282-8546-4D04-93C6-B699F18914AD}" dt="2022-10-26T12:40:25.896" v="1117" actId="207"/>
          <ac:spMkLst>
            <pc:docMk/>
            <pc:sldMk cId="2634232575" sldId="1068"/>
            <ac:spMk id="7" creationId="{835AF871-001D-0B6B-9E74-950841477D7C}"/>
          </ac:spMkLst>
        </pc:spChg>
      </pc:sldChg>
      <pc:sldChg chg="modSp add del mod">
        <pc:chgData name="Tony M P" userId="ae1e3ab533ed63fd" providerId="LiveId" clId="{93252282-8546-4D04-93C6-B699F18914AD}" dt="2022-10-26T12:41:03.208" v="1124" actId="207"/>
        <pc:sldMkLst>
          <pc:docMk/>
          <pc:sldMk cId="3577048785" sldId="1069"/>
        </pc:sldMkLst>
        <pc:spChg chg="mod">
          <ac:chgData name="Tony M P" userId="ae1e3ab533ed63fd" providerId="LiveId" clId="{93252282-8546-4D04-93C6-B699F18914AD}" dt="2022-10-26T12:41:03.208" v="1124" actId="207"/>
          <ac:spMkLst>
            <pc:docMk/>
            <pc:sldMk cId="3577048785" sldId="1069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1:24.737" v="1126" actId="207"/>
        <pc:sldMkLst>
          <pc:docMk/>
          <pc:sldMk cId="2919112221" sldId="1070"/>
        </pc:sldMkLst>
        <pc:spChg chg="mod">
          <ac:chgData name="Tony M P" userId="ae1e3ab533ed63fd" providerId="LiveId" clId="{93252282-8546-4D04-93C6-B699F18914AD}" dt="2022-10-26T12:41:24.737" v="1126" actId="207"/>
          <ac:spMkLst>
            <pc:docMk/>
            <pc:sldMk cId="2919112221" sldId="1070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4:13.210" v="1131" actId="207"/>
        <pc:sldMkLst>
          <pc:docMk/>
          <pc:sldMk cId="231968693" sldId="1071"/>
        </pc:sldMkLst>
        <pc:spChg chg="mod">
          <ac:chgData name="Tony M P" userId="ae1e3ab533ed63fd" providerId="LiveId" clId="{93252282-8546-4D04-93C6-B699F18914AD}" dt="2022-10-26T12:44:13.210" v="1131" actId="207"/>
          <ac:spMkLst>
            <pc:docMk/>
            <pc:sldMk cId="231968693" sldId="1071"/>
            <ac:spMk id="7" creationId="{835AF871-001D-0B6B-9E74-950841477D7C}"/>
          </ac:spMkLst>
        </pc:spChg>
      </pc:sldChg>
      <pc:sldChg chg="addSp delSp modSp mod">
        <pc:chgData name="Tony M P" userId="ae1e3ab533ed63fd" providerId="LiveId" clId="{93252282-8546-4D04-93C6-B699F18914AD}" dt="2022-10-26T12:45:51.857" v="1136" actId="207"/>
        <pc:sldMkLst>
          <pc:docMk/>
          <pc:sldMk cId="3403934912" sldId="1072"/>
        </pc:sldMkLst>
        <pc:spChg chg="add del mod">
          <ac:chgData name="Tony M P" userId="ae1e3ab533ed63fd" providerId="LiveId" clId="{93252282-8546-4D04-93C6-B699F18914AD}" dt="2022-10-25T16:47:30.971" v="259"/>
          <ac:spMkLst>
            <pc:docMk/>
            <pc:sldMk cId="3403934912" sldId="1072"/>
            <ac:spMk id="5" creationId="{E45FA613-0075-3309-8F57-709E2793F702}"/>
          </ac:spMkLst>
        </pc:spChg>
        <pc:spChg chg="mod">
          <ac:chgData name="Tony M P" userId="ae1e3ab533ed63fd" providerId="LiveId" clId="{93252282-8546-4D04-93C6-B699F18914AD}" dt="2022-10-26T12:45:51.857" v="1136" actId="207"/>
          <ac:spMkLst>
            <pc:docMk/>
            <pc:sldMk cId="3403934912" sldId="1072"/>
            <ac:spMk id="7" creationId="{835AF871-001D-0B6B-9E74-950841477D7C}"/>
          </ac:spMkLst>
        </pc:spChg>
        <pc:spChg chg="add del">
          <ac:chgData name="Tony M P" userId="ae1e3ab533ed63fd" providerId="LiveId" clId="{93252282-8546-4D04-93C6-B699F18914AD}" dt="2022-10-25T16:48:07.996" v="266" actId="22"/>
          <ac:spMkLst>
            <pc:docMk/>
            <pc:sldMk cId="3403934912" sldId="1072"/>
            <ac:spMk id="9" creationId="{0CF55DB7-2259-FB04-D06F-DCD41E939E22}"/>
          </ac:spMkLst>
        </pc:spChg>
        <pc:spChg chg="add del">
          <ac:chgData name="Tony M P" userId="ae1e3ab533ed63fd" providerId="LiveId" clId="{93252282-8546-4D04-93C6-B699F18914AD}" dt="2022-10-25T16:48:25.363" v="268" actId="22"/>
          <ac:spMkLst>
            <pc:docMk/>
            <pc:sldMk cId="3403934912" sldId="1072"/>
            <ac:spMk id="11" creationId="{2EEB03FC-E893-BCFC-471B-FB38CFF5EC15}"/>
          </ac:spMkLst>
        </pc:spChg>
        <pc:graphicFrameChg chg="add del mod">
          <ac:chgData name="Tony M P" userId="ae1e3ab533ed63fd" providerId="LiveId" clId="{93252282-8546-4D04-93C6-B699F18914AD}" dt="2022-10-25T16:47:30.971" v="259"/>
          <ac:graphicFrameMkLst>
            <pc:docMk/>
            <pc:sldMk cId="3403934912" sldId="1072"/>
            <ac:graphicFrameMk id="3" creationId="{0210C916-AD9D-7534-7759-6EF53C287BD2}"/>
          </ac:graphicFrameMkLst>
        </pc:graphicFrameChg>
        <pc:graphicFrameChg chg="add del mod">
          <ac:chgData name="Tony M P" userId="ae1e3ab533ed63fd" providerId="LiveId" clId="{93252282-8546-4D04-93C6-B699F18914AD}" dt="2022-10-25T16:47:53.045" v="264"/>
          <ac:graphicFrameMkLst>
            <pc:docMk/>
            <pc:sldMk cId="3403934912" sldId="1072"/>
            <ac:graphicFrameMk id="6" creationId="{441B232D-A27A-F095-E764-D0AD20FB557B}"/>
          </ac:graphicFrameMkLst>
        </pc:graphicFrameChg>
      </pc:sldChg>
      <pc:sldChg chg="delSp modSp mod">
        <pc:chgData name="Tony M P" userId="ae1e3ab533ed63fd" providerId="LiveId" clId="{93252282-8546-4D04-93C6-B699F18914AD}" dt="2022-10-26T12:46:57.988" v="1140" actId="207"/>
        <pc:sldMkLst>
          <pc:docMk/>
          <pc:sldMk cId="1379511491" sldId="1073"/>
        </pc:sldMkLst>
        <pc:spChg chg="del mod">
          <ac:chgData name="Tony M P" userId="ae1e3ab533ed63fd" providerId="LiveId" clId="{93252282-8546-4D04-93C6-B699F18914AD}" dt="2022-10-25T16:52:34.533" v="317" actId="478"/>
          <ac:spMkLst>
            <pc:docMk/>
            <pc:sldMk cId="1379511491" sldId="1073"/>
            <ac:spMk id="4" creationId="{00000000-0000-0000-0000-000000000000}"/>
          </ac:spMkLst>
        </pc:spChg>
        <pc:spChg chg="mod">
          <ac:chgData name="Tony M P" userId="ae1e3ab533ed63fd" providerId="LiveId" clId="{93252282-8546-4D04-93C6-B699F18914AD}" dt="2022-10-26T12:46:57.988" v="1140" actId="207"/>
          <ac:spMkLst>
            <pc:docMk/>
            <pc:sldMk cId="1379511491" sldId="1073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7:10.594" v="1141" actId="207"/>
        <pc:sldMkLst>
          <pc:docMk/>
          <pc:sldMk cId="958121459" sldId="1074"/>
        </pc:sldMkLst>
        <pc:spChg chg="mod">
          <ac:chgData name="Tony M P" userId="ae1e3ab533ed63fd" providerId="LiveId" clId="{93252282-8546-4D04-93C6-B699F18914AD}" dt="2022-10-26T12:47:10.594" v="1141" actId="207"/>
          <ac:spMkLst>
            <pc:docMk/>
            <pc:sldMk cId="958121459" sldId="1074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7:35.869" v="1143" actId="207"/>
        <pc:sldMkLst>
          <pc:docMk/>
          <pc:sldMk cId="3942552751" sldId="1075"/>
        </pc:sldMkLst>
        <pc:spChg chg="mod">
          <ac:chgData name="Tony M P" userId="ae1e3ab533ed63fd" providerId="LiveId" clId="{93252282-8546-4D04-93C6-B699F18914AD}" dt="2022-10-26T12:47:35.869" v="1143" actId="207"/>
          <ac:spMkLst>
            <pc:docMk/>
            <pc:sldMk cId="3942552751" sldId="1075"/>
            <ac:spMk id="7" creationId="{835AF871-001D-0B6B-9E74-950841477D7C}"/>
          </ac:spMkLst>
        </pc:spChg>
      </pc:sldChg>
      <pc:sldChg chg="modSp mod">
        <pc:chgData name="Tony M P" userId="ae1e3ab533ed63fd" providerId="LiveId" clId="{93252282-8546-4D04-93C6-B699F18914AD}" dt="2022-10-26T12:48:37.179" v="1149" actId="207"/>
        <pc:sldMkLst>
          <pc:docMk/>
          <pc:sldMk cId="4004324215" sldId="1076"/>
        </pc:sldMkLst>
        <pc:spChg chg="mod">
          <ac:chgData name="Tony M P" userId="ae1e3ab533ed63fd" providerId="LiveId" clId="{93252282-8546-4D04-93C6-B699F18914AD}" dt="2022-10-25T23:49:19.483" v="421" actId="20577"/>
          <ac:spMkLst>
            <pc:docMk/>
            <pc:sldMk cId="4004324215" sldId="1076"/>
            <ac:spMk id="2" creationId="{00000000-0000-0000-0000-000000000000}"/>
          </ac:spMkLst>
        </pc:spChg>
        <pc:spChg chg="mod">
          <ac:chgData name="Tony M P" userId="ae1e3ab533ed63fd" providerId="LiveId" clId="{93252282-8546-4D04-93C6-B699F18914AD}" dt="2022-10-26T12:48:37.179" v="1149" actId="207"/>
          <ac:spMkLst>
            <pc:docMk/>
            <pc:sldMk cId="4004324215" sldId="1076"/>
            <ac:spMk id="7" creationId="{835AF871-001D-0B6B-9E74-950841477D7C}"/>
          </ac:spMkLst>
        </pc:spChg>
      </pc:sldChg>
      <pc:sldChg chg="addSp delSp modSp mod">
        <pc:chgData name="Tony M P" userId="ae1e3ab533ed63fd" providerId="LiveId" clId="{93252282-8546-4D04-93C6-B699F18914AD}" dt="2022-10-26T12:35:28.866" v="1103" actId="14100"/>
        <pc:sldMkLst>
          <pc:docMk/>
          <pc:sldMk cId="3240290940" sldId="1078"/>
        </pc:sldMkLst>
        <pc:picChg chg="add mod">
          <ac:chgData name="Tony M P" userId="ae1e3ab533ed63fd" providerId="LiveId" clId="{93252282-8546-4D04-93C6-B699F18914AD}" dt="2022-10-26T12:35:28.866" v="1103" actId="14100"/>
          <ac:picMkLst>
            <pc:docMk/>
            <pc:sldMk cId="3240290940" sldId="1078"/>
            <ac:picMk id="2" creationId="{96385CFD-F2AB-7D0B-D6F1-CE8C9E63BAB9}"/>
          </ac:picMkLst>
        </pc:picChg>
        <pc:picChg chg="del">
          <ac:chgData name="Tony M P" userId="ae1e3ab533ed63fd" providerId="LiveId" clId="{93252282-8546-4D04-93C6-B699F18914AD}" dt="2022-10-26T12:35:12.362" v="1100" actId="478"/>
          <ac:picMkLst>
            <pc:docMk/>
            <pc:sldMk cId="3240290940" sldId="1078"/>
            <ac:picMk id="4" creationId="{2245947F-99E0-C05A-A743-BC9095B356F4}"/>
          </ac:picMkLst>
        </pc:picChg>
      </pc:sldChg>
    </pc:docChg>
  </pc:docChgLst>
  <pc:docChgLst>
    <pc:chgData name="Tony M P" userId="ae1e3ab533ed63fd" providerId="LiveId" clId="{C48B26EA-CB98-48B8-AD63-B6D3A8EC8341}"/>
    <pc:docChg chg="undo custSel addSld delSld modSld">
      <pc:chgData name="Tony M P" userId="ae1e3ab533ed63fd" providerId="LiveId" clId="{C48B26EA-CB98-48B8-AD63-B6D3A8EC8341}" dt="2022-10-17T12:05:52.962" v="166" actId="47"/>
      <pc:docMkLst>
        <pc:docMk/>
      </pc:docMkLst>
      <pc:sldChg chg="del">
        <pc:chgData name="Tony M P" userId="ae1e3ab533ed63fd" providerId="LiveId" clId="{C48B26EA-CB98-48B8-AD63-B6D3A8EC8341}" dt="2022-10-16T23:46:25.829" v="49" actId="47"/>
        <pc:sldMkLst>
          <pc:docMk/>
          <pc:sldMk cId="1855939972" sldId="714"/>
        </pc:sldMkLst>
      </pc:sldChg>
      <pc:sldChg chg="modSp mod">
        <pc:chgData name="Tony M P" userId="ae1e3ab533ed63fd" providerId="LiveId" clId="{C48B26EA-CB98-48B8-AD63-B6D3A8EC8341}" dt="2022-10-16T23:44:04.808" v="3" actId="20577"/>
        <pc:sldMkLst>
          <pc:docMk/>
          <pc:sldMk cId="1719205100" sldId="1030"/>
        </pc:sldMkLst>
        <pc:spChg chg="mod">
          <ac:chgData name="Tony M P" userId="ae1e3ab533ed63fd" providerId="LiveId" clId="{C48B26EA-CB98-48B8-AD63-B6D3A8EC8341}" dt="2022-10-16T23:43:57.935" v="1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C48B26EA-CB98-48B8-AD63-B6D3A8EC8341}" dt="2022-10-16T23:44:04.808" v="3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del">
        <pc:chgData name="Tony M P" userId="ae1e3ab533ed63fd" providerId="LiveId" clId="{C48B26EA-CB98-48B8-AD63-B6D3A8EC8341}" dt="2022-10-16T23:44:37.900" v="9" actId="47"/>
        <pc:sldMkLst>
          <pc:docMk/>
          <pc:sldMk cId="2898994571" sldId="1063"/>
        </pc:sldMkLst>
      </pc:sldChg>
      <pc:sldChg chg="del">
        <pc:chgData name="Tony M P" userId="ae1e3ab533ed63fd" providerId="LiveId" clId="{C48B26EA-CB98-48B8-AD63-B6D3A8EC8341}" dt="2022-10-16T23:44:38.528" v="12" actId="47"/>
        <pc:sldMkLst>
          <pc:docMk/>
          <pc:sldMk cId="3620657687" sldId="1064"/>
        </pc:sldMkLst>
      </pc:sldChg>
      <pc:sldChg chg="del">
        <pc:chgData name="Tony M P" userId="ae1e3ab533ed63fd" providerId="LiveId" clId="{C48B26EA-CB98-48B8-AD63-B6D3A8EC8341}" dt="2022-10-16T23:44:38.746" v="13" actId="47"/>
        <pc:sldMkLst>
          <pc:docMk/>
          <pc:sldMk cId="3136169779" sldId="1065"/>
        </pc:sldMkLst>
      </pc:sldChg>
      <pc:sldChg chg="del">
        <pc:chgData name="Tony M P" userId="ae1e3ab533ed63fd" providerId="LiveId" clId="{C48B26EA-CB98-48B8-AD63-B6D3A8EC8341}" dt="2022-10-16T23:44:39.476" v="14" actId="47"/>
        <pc:sldMkLst>
          <pc:docMk/>
          <pc:sldMk cId="2992893606" sldId="1066"/>
        </pc:sldMkLst>
      </pc:sldChg>
      <pc:sldChg chg="del">
        <pc:chgData name="Tony M P" userId="ae1e3ab533ed63fd" providerId="LiveId" clId="{C48B26EA-CB98-48B8-AD63-B6D3A8EC8341}" dt="2022-10-16T23:44:39.637" v="15" actId="47"/>
        <pc:sldMkLst>
          <pc:docMk/>
          <pc:sldMk cId="1959176777" sldId="1067"/>
        </pc:sldMkLst>
      </pc:sldChg>
      <pc:sldChg chg="del">
        <pc:chgData name="Tony M P" userId="ae1e3ab533ed63fd" providerId="LiveId" clId="{C48B26EA-CB98-48B8-AD63-B6D3A8EC8341}" dt="2022-10-16T23:44:40.350" v="16" actId="47"/>
        <pc:sldMkLst>
          <pc:docMk/>
          <pc:sldMk cId="994505854" sldId="1068"/>
        </pc:sldMkLst>
      </pc:sldChg>
      <pc:sldChg chg="del">
        <pc:chgData name="Tony M P" userId="ae1e3ab533ed63fd" providerId="LiveId" clId="{C48B26EA-CB98-48B8-AD63-B6D3A8EC8341}" dt="2022-10-16T23:44:37.463" v="7" actId="47"/>
        <pc:sldMkLst>
          <pc:docMk/>
          <pc:sldMk cId="2843863039" sldId="1069"/>
        </pc:sldMkLst>
      </pc:sldChg>
      <pc:sldChg chg="del">
        <pc:chgData name="Tony M P" userId="ae1e3ab533ed63fd" providerId="LiveId" clId="{C48B26EA-CB98-48B8-AD63-B6D3A8EC8341}" dt="2022-10-16T23:44:25.440" v="5" actId="47"/>
        <pc:sldMkLst>
          <pc:docMk/>
          <pc:sldMk cId="918841220" sldId="1079"/>
        </pc:sldMkLst>
      </pc:sldChg>
      <pc:sldChg chg="del">
        <pc:chgData name="Tony M P" userId="ae1e3ab533ed63fd" providerId="LiveId" clId="{C48B26EA-CB98-48B8-AD63-B6D3A8EC8341}" dt="2022-10-16T23:44:37.711" v="8" actId="47"/>
        <pc:sldMkLst>
          <pc:docMk/>
          <pc:sldMk cId="3797621948" sldId="1080"/>
        </pc:sldMkLst>
      </pc:sldChg>
      <pc:sldChg chg="del">
        <pc:chgData name="Tony M P" userId="ae1e3ab533ed63fd" providerId="LiveId" clId="{C48B26EA-CB98-48B8-AD63-B6D3A8EC8341}" dt="2022-10-16T23:44:38.123" v="10" actId="47"/>
        <pc:sldMkLst>
          <pc:docMk/>
          <pc:sldMk cId="2810439988" sldId="1081"/>
        </pc:sldMkLst>
      </pc:sldChg>
      <pc:sldChg chg="del">
        <pc:chgData name="Tony M P" userId="ae1e3ab533ed63fd" providerId="LiveId" clId="{C48B26EA-CB98-48B8-AD63-B6D3A8EC8341}" dt="2022-10-16T23:44:41.043" v="17" actId="47"/>
        <pc:sldMkLst>
          <pc:docMk/>
          <pc:sldMk cId="2023274834" sldId="1082"/>
        </pc:sldMkLst>
      </pc:sldChg>
      <pc:sldChg chg="del">
        <pc:chgData name="Tony M P" userId="ae1e3ab533ed63fd" providerId="LiveId" clId="{C48B26EA-CB98-48B8-AD63-B6D3A8EC8341}" dt="2022-10-16T23:44:37.278" v="6" actId="47"/>
        <pc:sldMkLst>
          <pc:docMk/>
          <pc:sldMk cId="2166534376" sldId="1088"/>
        </pc:sldMkLst>
      </pc:sldChg>
      <pc:sldChg chg="del">
        <pc:chgData name="Tony M P" userId="ae1e3ab533ed63fd" providerId="LiveId" clId="{C48B26EA-CB98-48B8-AD63-B6D3A8EC8341}" dt="2022-10-16T23:44:42.194" v="18" actId="47"/>
        <pc:sldMkLst>
          <pc:docMk/>
          <pc:sldMk cId="2863400034" sldId="1090"/>
        </pc:sldMkLst>
      </pc:sldChg>
      <pc:sldChg chg="modSp del mod">
        <pc:chgData name="Tony M P" userId="ae1e3ab533ed63fd" providerId="LiveId" clId="{C48B26EA-CB98-48B8-AD63-B6D3A8EC8341}" dt="2022-10-16T23:45:38.952" v="30" actId="47"/>
        <pc:sldMkLst>
          <pc:docMk/>
          <pc:sldMk cId="1922938187" sldId="1095"/>
        </pc:sldMkLst>
        <pc:spChg chg="mod">
          <ac:chgData name="Tony M P" userId="ae1e3ab533ed63fd" providerId="LiveId" clId="{C48B26EA-CB98-48B8-AD63-B6D3A8EC8341}" dt="2022-10-16T23:45:27.684" v="27" actId="20577"/>
          <ac:spMkLst>
            <pc:docMk/>
            <pc:sldMk cId="1922938187" sldId="1095"/>
            <ac:spMk id="3" creationId="{00000000-0000-0000-0000-000000000000}"/>
          </ac:spMkLst>
        </pc:spChg>
      </pc:sldChg>
      <pc:sldChg chg="addSp delSp modSp del mod">
        <pc:chgData name="Tony M P" userId="ae1e3ab533ed63fd" providerId="LiveId" clId="{C48B26EA-CB98-48B8-AD63-B6D3A8EC8341}" dt="2022-10-17T12:04:49.605" v="144" actId="47"/>
        <pc:sldMkLst>
          <pc:docMk/>
          <pc:sldMk cId="4237868225" sldId="1096"/>
        </pc:sldMkLst>
        <pc:picChg chg="add del mod">
          <ac:chgData name="Tony M P" userId="ae1e3ab533ed63fd" providerId="LiveId" clId="{C48B26EA-CB98-48B8-AD63-B6D3A8EC8341}" dt="2022-10-17T12:04:41.993" v="143" actId="478"/>
          <ac:picMkLst>
            <pc:docMk/>
            <pc:sldMk cId="4237868225" sldId="1096"/>
            <ac:picMk id="2" creationId="{DE6BF983-844F-C28B-0C28-63E05CA81878}"/>
          </ac:picMkLst>
        </pc:picChg>
        <pc:picChg chg="del">
          <ac:chgData name="Tony M P" userId="ae1e3ab533ed63fd" providerId="LiveId" clId="{C48B26EA-CB98-48B8-AD63-B6D3A8EC8341}" dt="2022-10-16T23:45:52.099" v="31" actId="478"/>
          <ac:picMkLst>
            <pc:docMk/>
            <pc:sldMk cId="4237868225" sldId="1096"/>
            <ac:picMk id="8" creationId="{E575D278-8EC8-D4E4-475D-E2489D771F35}"/>
          </ac:picMkLst>
        </pc:picChg>
      </pc:sldChg>
      <pc:sldChg chg="delSp add del mod">
        <pc:chgData name="Tony M P" userId="ae1e3ab533ed63fd" providerId="LiveId" clId="{C48B26EA-CB98-48B8-AD63-B6D3A8EC8341}" dt="2022-10-16T23:45:31.900" v="28" actId="47"/>
        <pc:sldMkLst>
          <pc:docMk/>
          <pc:sldMk cId="3728482597" sldId="1098"/>
        </pc:sldMkLst>
        <pc:picChg chg="del">
          <ac:chgData name="Tony M P" userId="ae1e3ab533ed63fd" providerId="LiveId" clId="{C48B26EA-CB98-48B8-AD63-B6D3A8EC8341}" dt="2022-10-16T23:45:11.182" v="22" actId="478"/>
          <ac:picMkLst>
            <pc:docMk/>
            <pc:sldMk cId="3728482597" sldId="1098"/>
            <ac:picMk id="5" creationId="{4A331451-347F-6A2F-2923-5ADA60820B80}"/>
          </ac:picMkLst>
        </pc:picChg>
      </pc:sldChg>
      <pc:sldChg chg="del">
        <pc:chgData name="Tony M P" userId="ae1e3ab533ed63fd" providerId="LiveId" clId="{C48B26EA-CB98-48B8-AD63-B6D3A8EC8341}" dt="2022-10-16T23:45:34.136" v="29" actId="47"/>
        <pc:sldMkLst>
          <pc:docMk/>
          <pc:sldMk cId="1690396403" sldId="1100"/>
        </pc:sldMkLst>
      </pc:sldChg>
      <pc:sldChg chg="del">
        <pc:chgData name="Tony M P" userId="ae1e3ab533ed63fd" providerId="LiveId" clId="{C48B26EA-CB98-48B8-AD63-B6D3A8EC8341}" dt="2022-10-16T23:46:25.427" v="48" actId="47"/>
        <pc:sldMkLst>
          <pc:docMk/>
          <pc:sldMk cId="3244617634" sldId="1101"/>
        </pc:sldMkLst>
      </pc:sldChg>
      <pc:sldChg chg="del">
        <pc:chgData name="Tony M P" userId="ae1e3ab533ed63fd" providerId="LiveId" clId="{C48B26EA-CB98-48B8-AD63-B6D3A8EC8341}" dt="2022-10-16T23:46:26.968" v="50" actId="47"/>
        <pc:sldMkLst>
          <pc:docMk/>
          <pc:sldMk cId="1855932170" sldId="1102"/>
        </pc:sldMkLst>
      </pc:sldChg>
      <pc:sldChg chg="modSp del mod">
        <pc:chgData name="Tony M P" userId="ae1e3ab533ed63fd" providerId="LiveId" clId="{C48B26EA-CB98-48B8-AD63-B6D3A8EC8341}" dt="2022-10-17T12:05:52.962" v="166" actId="47"/>
        <pc:sldMkLst>
          <pc:docMk/>
          <pc:sldMk cId="405079545" sldId="1103"/>
        </pc:sldMkLst>
        <pc:spChg chg="mod">
          <ac:chgData name="Tony M P" userId="ae1e3ab533ed63fd" providerId="LiveId" clId="{C48B26EA-CB98-48B8-AD63-B6D3A8EC8341}" dt="2022-10-17T00:04:46.512" v="116" actId="20577"/>
          <ac:spMkLst>
            <pc:docMk/>
            <pc:sldMk cId="405079545" sldId="1103"/>
            <ac:spMk id="2" creationId="{4BC799D2-5201-4330-9C8D-74D2FCE087A1}"/>
          </ac:spMkLst>
        </pc:spChg>
      </pc:sldChg>
      <pc:sldChg chg="modSp mod">
        <pc:chgData name="Tony M P" userId="ae1e3ab533ed63fd" providerId="LiveId" clId="{C48B26EA-CB98-48B8-AD63-B6D3A8EC8341}" dt="2022-10-17T12:05:39.484" v="164" actId="207"/>
        <pc:sldMkLst>
          <pc:docMk/>
          <pc:sldMk cId="2598736178" sldId="1105"/>
        </pc:sldMkLst>
        <pc:spChg chg="mod">
          <ac:chgData name="Tony M P" userId="ae1e3ab533ed63fd" providerId="LiveId" clId="{C48B26EA-CB98-48B8-AD63-B6D3A8EC8341}" dt="2022-10-17T12:05:39.484" v="164" actId="207"/>
          <ac:spMkLst>
            <pc:docMk/>
            <pc:sldMk cId="2598736178" sldId="1105"/>
            <ac:spMk id="3" creationId="{00000000-0000-0000-0000-000000000000}"/>
          </ac:spMkLst>
        </pc:spChg>
      </pc:sldChg>
      <pc:sldChg chg="del">
        <pc:chgData name="Tony M P" userId="ae1e3ab533ed63fd" providerId="LiveId" clId="{C48B26EA-CB98-48B8-AD63-B6D3A8EC8341}" dt="2022-10-16T23:46:14.447" v="32" actId="47"/>
        <pc:sldMkLst>
          <pc:docMk/>
          <pc:sldMk cId="3976141457" sldId="1106"/>
        </pc:sldMkLst>
      </pc:sldChg>
      <pc:sldChg chg="del">
        <pc:chgData name="Tony M P" userId="ae1e3ab533ed63fd" providerId="LiveId" clId="{C48B26EA-CB98-48B8-AD63-B6D3A8EC8341}" dt="2022-10-16T23:46:17.696" v="36" actId="47"/>
        <pc:sldMkLst>
          <pc:docMk/>
          <pc:sldMk cId="183843896" sldId="1107"/>
        </pc:sldMkLst>
      </pc:sldChg>
      <pc:sldChg chg="del">
        <pc:chgData name="Tony M P" userId="ae1e3ab533ed63fd" providerId="LiveId" clId="{C48B26EA-CB98-48B8-AD63-B6D3A8EC8341}" dt="2022-10-16T23:46:16.880" v="35" actId="47"/>
        <pc:sldMkLst>
          <pc:docMk/>
          <pc:sldMk cId="1480759013" sldId="1108"/>
        </pc:sldMkLst>
      </pc:sldChg>
      <pc:sldChg chg="modSp del mod">
        <pc:chgData name="Tony M P" userId="ae1e3ab533ed63fd" providerId="LiveId" clId="{C48B26EA-CB98-48B8-AD63-B6D3A8EC8341}" dt="2022-10-17T12:04:50.730" v="145" actId="47"/>
        <pc:sldMkLst>
          <pc:docMk/>
          <pc:sldMk cId="1823133845" sldId="1109"/>
        </pc:sldMkLst>
        <pc:spChg chg="mod">
          <ac:chgData name="Tony M P" userId="ae1e3ab533ed63fd" providerId="LiveId" clId="{C48B26EA-CB98-48B8-AD63-B6D3A8EC8341}" dt="2022-10-17T00:04:18.713" v="97" actId="108"/>
          <ac:spMkLst>
            <pc:docMk/>
            <pc:sldMk cId="1823133845" sldId="1109"/>
            <ac:spMk id="3" creationId="{00000000-0000-0000-0000-000000000000}"/>
          </ac:spMkLst>
        </pc:spChg>
      </pc:sldChg>
      <pc:sldChg chg="del">
        <pc:chgData name="Tony M P" userId="ae1e3ab533ed63fd" providerId="LiveId" clId="{C48B26EA-CB98-48B8-AD63-B6D3A8EC8341}" dt="2022-10-16T23:46:14.630" v="33" actId="47"/>
        <pc:sldMkLst>
          <pc:docMk/>
          <pc:sldMk cId="2895087489" sldId="1111"/>
        </pc:sldMkLst>
      </pc:sldChg>
      <pc:sldChg chg="del">
        <pc:chgData name="Tony M P" userId="ae1e3ab533ed63fd" providerId="LiveId" clId="{C48B26EA-CB98-48B8-AD63-B6D3A8EC8341}" dt="2022-10-16T23:46:16.033" v="34" actId="47"/>
        <pc:sldMkLst>
          <pc:docMk/>
          <pc:sldMk cId="1781466173" sldId="1112"/>
        </pc:sldMkLst>
      </pc:sldChg>
      <pc:sldChg chg="del">
        <pc:chgData name="Tony M P" userId="ae1e3ab533ed63fd" providerId="LiveId" clId="{C48B26EA-CB98-48B8-AD63-B6D3A8EC8341}" dt="2022-10-16T23:46:19.355" v="37" actId="47"/>
        <pc:sldMkLst>
          <pc:docMk/>
          <pc:sldMk cId="3186427530" sldId="1113"/>
        </pc:sldMkLst>
      </pc:sldChg>
      <pc:sldChg chg="del">
        <pc:chgData name="Tony M P" userId="ae1e3ab533ed63fd" providerId="LiveId" clId="{C48B26EA-CB98-48B8-AD63-B6D3A8EC8341}" dt="2022-10-16T23:46:20.114" v="38" actId="47"/>
        <pc:sldMkLst>
          <pc:docMk/>
          <pc:sldMk cId="2189620633" sldId="1114"/>
        </pc:sldMkLst>
      </pc:sldChg>
      <pc:sldChg chg="del">
        <pc:chgData name="Tony M P" userId="ae1e3ab533ed63fd" providerId="LiveId" clId="{C48B26EA-CB98-48B8-AD63-B6D3A8EC8341}" dt="2022-10-16T23:46:20.706" v="39" actId="47"/>
        <pc:sldMkLst>
          <pc:docMk/>
          <pc:sldMk cId="1409565001" sldId="1115"/>
        </pc:sldMkLst>
      </pc:sldChg>
      <pc:sldChg chg="del">
        <pc:chgData name="Tony M P" userId="ae1e3ab533ed63fd" providerId="LiveId" clId="{C48B26EA-CB98-48B8-AD63-B6D3A8EC8341}" dt="2022-10-16T23:46:21.529" v="40" actId="47"/>
        <pc:sldMkLst>
          <pc:docMk/>
          <pc:sldMk cId="3946260572" sldId="1116"/>
        </pc:sldMkLst>
      </pc:sldChg>
      <pc:sldChg chg="del">
        <pc:chgData name="Tony M P" userId="ae1e3ab533ed63fd" providerId="LiveId" clId="{C48B26EA-CB98-48B8-AD63-B6D3A8EC8341}" dt="2022-10-16T23:46:21.908" v="41" actId="47"/>
        <pc:sldMkLst>
          <pc:docMk/>
          <pc:sldMk cId="3710571857" sldId="1117"/>
        </pc:sldMkLst>
      </pc:sldChg>
      <pc:sldChg chg="del">
        <pc:chgData name="Tony M P" userId="ae1e3ab533ed63fd" providerId="LiveId" clId="{C48B26EA-CB98-48B8-AD63-B6D3A8EC8341}" dt="2022-10-16T23:46:22.119" v="42" actId="47"/>
        <pc:sldMkLst>
          <pc:docMk/>
          <pc:sldMk cId="3665182660" sldId="1118"/>
        </pc:sldMkLst>
      </pc:sldChg>
      <pc:sldChg chg="del">
        <pc:chgData name="Tony M P" userId="ae1e3ab533ed63fd" providerId="LiveId" clId="{C48B26EA-CB98-48B8-AD63-B6D3A8EC8341}" dt="2022-10-16T23:46:22.293" v="43" actId="47"/>
        <pc:sldMkLst>
          <pc:docMk/>
          <pc:sldMk cId="2353205242" sldId="1119"/>
        </pc:sldMkLst>
      </pc:sldChg>
      <pc:sldChg chg="del">
        <pc:chgData name="Tony M P" userId="ae1e3ab533ed63fd" providerId="LiveId" clId="{C48B26EA-CB98-48B8-AD63-B6D3A8EC8341}" dt="2022-10-16T23:46:22.453" v="44" actId="47"/>
        <pc:sldMkLst>
          <pc:docMk/>
          <pc:sldMk cId="2021637522" sldId="1120"/>
        </pc:sldMkLst>
      </pc:sldChg>
      <pc:sldChg chg="del">
        <pc:chgData name="Tony M P" userId="ae1e3ab533ed63fd" providerId="LiveId" clId="{C48B26EA-CB98-48B8-AD63-B6D3A8EC8341}" dt="2022-10-16T23:46:22.618" v="45" actId="47"/>
        <pc:sldMkLst>
          <pc:docMk/>
          <pc:sldMk cId="2971525975" sldId="1121"/>
        </pc:sldMkLst>
      </pc:sldChg>
      <pc:sldChg chg="del">
        <pc:chgData name="Tony M P" userId="ae1e3ab533ed63fd" providerId="LiveId" clId="{C48B26EA-CB98-48B8-AD63-B6D3A8EC8341}" dt="2022-10-16T23:46:23.442" v="46" actId="47"/>
        <pc:sldMkLst>
          <pc:docMk/>
          <pc:sldMk cId="1688220319" sldId="1122"/>
        </pc:sldMkLst>
      </pc:sldChg>
      <pc:sldChg chg="del">
        <pc:chgData name="Tony M P" userId="ae1e3ab533ed63fd" providerId="LiveId" clId="{C48B26EA-CB98-48B8-AD63-B6D3A8EC8341}" dt="2022-10-16T23:46:24.120" v="47" actId="47"/>
        <pc:sldMkLst>
          <pc:docMk/>
          <pc:sldMk cId="2829415091" sldId="1123"/>
        </pc:sldMkLst>
      </pc:sldChg>
      <pc:sldChg chg="addSp delSp modSp add del mod">
        <pc:chgData name="Tony M P" userId="ae1e3ab533ed63fd" providerId="LiveId" clId="{C48B26EA-CB98-48B8-AD63-B6D3A8EC8341}" dt="2022-10-17T12:04:18.619" v="141" actId="47"/>
        <pc:sldMkLst>
          <pc:docMk/>
          <pc:sldMk cId="426583830" sldId="1124"/>
        </pc:sldMkLst>
        <pc:picChg chg="add mod">
          <ac:chgData name="Tony M P" userId="ae1e3ab533ed63fd" providerId="LiveId" clId="{C48B26EA-CB98-48B8-AD63-B6D3A8EC8341}" dt="2022-10-16T23:48:51.525" v="55" actId="14100"/>
          <ac:picMkLst>
            <pc:docMk/>
            <pc:sldMk cId="426583830" sldId="1124"/>
            <ac:picMk id="2" creationId="{9419E8C6-CEDA-8FE7-8CDF-6FD9A1CF714A}"/>
          </ac:picMkLst>
        </pc:picChg>
        <pc:picChg chg="del">
          <ac:chgData name="Tony M P" userId="ae1e3ab533ed63fd" providerId="LiveId" clId="{C48B26EA-CB98-48B8-AD63-B6D3A8EC8341}" dt="2022-10-16T23:44:22.168" v="4" actId="478"/>
          <ac:picMkLst>
            <pc:docMk/>
            <pc:sldMk cId="426583830" sldId="1124"/>
            <ac:picMk id="3" creationId="{4C09793F-DC53-D015-E7A7-D518EF5ADA3E}"/>
          </ac:picMkLst>
        </pc:picChg>
      </pc:sldChg>
      <pc:sldChg chg="del">
        <pc:chgData name="Tony M P" userId="ae1e3ab533ed63fd" providerId="LiveId" clId="{C48B26EA-CB98-48B8-AD63-B6D3A8EC8341}" dt="2022-10-16T23:44:38.332" v="11" actId="47"/>
        <pc:sldMkLst>
          <pc:docMk/>
          <pc:sldMk cId="1595498382" sldId="1125"/>
        </pc:sldMkLst>
      </pc:sldChg>
      <pc:sldChg chg="del">
        <pc:chgData name="Tony M P" userId="ae1e3ab533ed63fd" providerId="LiveId" clId="{C48B26EA-CB98-48B8-AD63-B6D3A8EC8341}" dt="2022-10-16T23:44:44.062" v="19" actId="47"/>
        <pc:sldMkLst>
          <pc:docMk/>
          <pc:sldMk cId="2961169426" sldId="1126"/>
        </pc:sldMkLst>
      </pc:sldChg>
      <pc:sldChg chg="addSp delSp modSp mod">
        <pc:chgData name="Tony M P" userId="ae1e3ab533ed63fd" providerId="LiveId" clId="{C48B26EA-CB98-48B8-AD63-B6D3A8EC8341}" dt="2022-10-17T11:55:11.692" v="120" actId="14100"/>
        <pc:sldMkLst>
          <pc:docMk/>
          <pc:sldMk cId="2547597945" sldId="1129"/>
        </pc:sldMkLst>
        <pc:spChg chg="del">
          <ac:chgData name="Tony M P" userId="ae1e3ab533ed63fd" providerId="LiveId" clId="{C48B26EA-CB98-48B8-AD63-B6D3A8EC8341}" dt="2022-10-17T11:46:11.631" v="117" actId="478"/>
          <ac:spMkLst>
            <pc:docMk/>
            <pc:sldMk cId="2547597945" sldId="1129"/>
            <ac:spMk id="3" creationId="{00000000-0000-0000-0000-000000000000}"/>
          </ac:spMkLst>
        </pc:spChg>
        <pc:picChg chg="add mod">
          <ac:chgData name="Tony M P" userId="ae1e3ab533ed63fd" providerId="LiveId" clId="{C48B26EA-CB98-48B8-AD63-B6D3A8EC8341}" dt="2022-10-17T11:55:11.692" v="120" actId="14100"/>
          <ac:picMkLst>
            <pc:docMk/>
            <pc:sldMk cId="2547597945" sldId="1129"/>
            <ac:picMk id="2" creationId="{377B168E-DB3A-9836-5D26-E7316BC1C270}"/>
          </ac:picMkLst>
        </pc:picChg>
      </pc:sldChg>
      <pc:sldChg chg="addSp modSp mod">
        <pc:chgData name="Tony M P" userId="ae1e3ab533ed63fd" providerId="LiveId" clId="{C48B26EA-CB98-48B8-AD63-B6D3A8EC8341}" dt="2022-10-17T11:55:48.154" v="126" actId="14100"/>
        <pc:sldMkLst>
          <pc:docMk/>
          <pc:sldMk cId="3370779892" sldId="1130"/>
        </pc:sldMkLst>
        <pc:picChg chg="add mod">
          <ac:chgData name="Tony M P" userId="ae1e3ab533ed63fd" providerId="LiveId" clId="{C48B26EA-CB98-48B8-AD63-B6D3A8EC8341}" dt="2022-10-17T11:55:48.154" v="126" actId="14100"/>
          <ac:picMkLst>
            <pc:docMk/>
            <pc:sldMk cId="3370779892" sldId="1130"/>
            <ac:picMk id="2" creationId="{B5861CDE-BE44-D4BF-A15E-FDB19B9BAFDA}"/>
          </ac:picMkLst>
        </pc:picChg>
      </pc:sldChg>
      <pc:sldChg chg="addSp modSp mod">
        <pc:chgData name="Tony M P" userId="ae1e3ab533ed63fd" providerId="LiveId" clId="{C48B26EA-CB98-48B8-AD63-B6D3A8EC8341}" dt="2022-10-17T11:55:32.280" v="123" actId="14100"/>
        <pc:sldMkLst>
          <pc:docMk/>
          <pc:sldMk cId="3437825338" sldId="1131"/>
        </pc:sldMkLst>
        <pc:picChg chg="add mod">
          <ac:chgData name="Tony M P" userId="ae1e3ab533ed63fd" providerId="LiveId" clId="{C48B26EA-CB98-48B8-AD63-B6D3A8EC8341}" dt="2022-10-17T11:55:32.280" v="123" actId="14100"/>
          <ac:picMkLst>
            <pc:docMk/>
            <pc:sldMk cId="3437825338" sldId="1131"/>
            <ac:picMk id="2" creationId="{A840138F-6115-D2C7-B544-870CE1A85957}"/>
          </ac:picMkLst>
        </pc:picChg>
      </pc:sldChg>
      <pc:sldChg chg="modSp del mod">
        <pc:chgData name="Tony M P" userId="ae1e3ab533ed63fd" providerId="LiveId" clId="{C48B26EA-CB98-48B8-AD63-B6D3A8EC8341}" dt="2022-10-17T12:05:51.636" v="165" actId="47"/>
        <pc:sldMkLst>
          <pc:docMk/>
          <pc:sldMk cId="413221573" sldId="1132"/>
        </pc:sldMkLst>
        <pc:spChg chg="mod">
          <ac:chgData name="Tony M P" userId="ae1e3ab533ed63fd" providerId="LiveId" clId="{C48B26EA-CB98-48B8-AD63-B6D3A8EC8341}" dt="2022-10-17T11:56:37.814" v="139" actId="6549"/>
          <ac:spMkLst>
            <pc:docMk/>
            <pc:sldMk cId="413221573" sldId="1132"/>
            <ac:spMk id="3" creationId="{00000000-0000-0000-0000-000000000000}"/>
          </ac:spMkLst>
        </pc:spChg>
      </pc:sldChg>
    </pc:docChg>
  </pc:docChgLst>
  <pc:docChgLst>
    <pc:chgData name="Tony M P" userId="ae1e3ab533ed63fd" providerId="LiveId" clId="{713F5F7A-E732-47F7-A136-40AF775938B3}"/>
    <pc:docChg chg="undo custSel addSld delSld modSld sldOrd">
      <pc:chgData name="Tony M P" userId="ae1e3ab533ed63fd" providerId="LiveId" clId="{713F5F7A-E732-47F7-A136-40AF775938B3}" dt="2022-11-15T14:21:34.034" v="925" actId="47"/>
      <pc:docMkLst>
        <pc:docMk/>
      </pc:docMkLst>
      <pc:sldChg chg="del">
        <pc:chgData name="Tony M P" userId="ae1e3ab533ed63fd" providerId="LiveId" clId="{713F5F7A-E732-47F7-A136-40AF775938B3}" dt="2022-11-14T01:56:04.767" v="305" actId="47"/>
        <pc:sldMkLst>
          <pc:docMk/>
          <pc:sldMk cId="2298963138" sldId="364"/>
        </pc:sldMkLst>
      </pc:sldChg>
      <pc:sldChg chg="add del">
        <pc:chgData name="Tony M P" userId="ae1e3ab533ed63fd" providerId="LiveId" clId="{713F5F7A-E732-47F7-A136-40AF775938B3}" dt="2022-11-15T14:21:05.009" v="860" actId="47"/>
        <pc:sldMkLst>
          <pc:docMk/>
          <pc:sldMk cId="1716071406" sldId="511"/>
        </pc:sldMkLst>
      </pc:sldChg>
      <pc:sldChg chg="del">
        <pc:chgData name="Tony M P" userId="ae1e3ab533ed63fd" providerId="LiveId" clId="{713F5F7A-E732-47F7-A136-40AF775938B3}" dt="2022-11-14T00:39:28.593" v="292" actId="47"/>
        <pc:sldMkLst>
          <pc:docMk/>
          <pc:sldMk cId="3555190480" sldId="512"/>
        </pc:sldMkLst>
      </pc:sldChg>
      <pc:sldChg chg="del">
        <pc:chgData name="Tony M P" userId="ae1e3ab533ed63fd" providerId="LiveId" clId="{713F5F7A-E732-47F7-A136-40AF775938B3}" dt="2022-11-15T14:21:19.350" v="890" actId="47"/>
        <pc:sldMkLst>
          <pc:docMk/>
          <pc:sldMk cId="592420418" sldId="513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217873481" sldId="513"/>
        </pc:sldMkLst>
      </pc:sldChg>
      <pc:sldChg chg="del">
        <pc:chgData name="Tony M P" userId="ae1e3ab533ed63fd" providerId="LiveId" clId="{713F5F7A-E732-47F7-A136-40AF775938B3}" dt="2022-11-15T14:21:19.537" v="891" actId="47"/>
        <pc:sldMkLst>
          <pc:docMk/>
          <pc:sldMk cId="3225989197" sldId="514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372206601" sldId="514"/>
        </pc:sldMkLst>
      </pc:sldChg>
      <pc:sldChg chg="del">
        <pc:chgData name="Tony M P" userId="ae1e3ab533ed63fd" providerId="LiveId" clId="{713F5F7A-E732-47F7-A136-40AF775938B3}" dt="2022-11-15T14:21:20.974" v="897" actId="47"/>
        <pc:sldMkLst>
          <pc:docMk/>
          <pc:sldMk cId="1785850440" sldId="515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2040431504" sldId="515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18871418" sldId="516"/>
        </pc:sldMkLst>
      </pc:sldChg>
      <pc:sldChg chg="del">
        <pc:chgData name="Tony M P" userId="ae1e3ab533ed63fd" providerId="LiveId" clId="{713F5F7A-E732-47F7-A136-40AF775938B3}" dt="2022-11-15T14:21:19.912" v="892" actId="47"/>
        <pc:sldMkLst>
          <pc:docMk/>
          <pc:sldMk cId="2554638395" sldId="516"/>
        </pc:sldMkLst>
      </pc:sldChg>
      <pc:sldChg chg="del">
        <pc:chgData name="Tony M P" userId="ae1e3ab533ed63fd" providerId="LiveId" clId="{713F5F7A-E732-47F7-A136-40AF775938B3}" dt="2022-11-15T14:21:20.771" v="896" actId="47"/>
        <pc:sldMkLst>
          <pc:docMk/>
          <pc:sldMk cId="754643782" sldId="51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2539137157" sldId="51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941409702" sldId="518"/>
        </pc:sldMkLst>
      </pc:sldChg>
      <pc:sldChg chg="del">
        <pc:chgData name="Tony M P" userId="ae1e3ab533ed63fd" providerId="LiveId" clId="{713F5F7A-E732-47F7-A136-40AF775938B3}" dt="2022-11-15T14:21:20.553" v="895" actId="47"/>
        <pc:sldMkLst>
          <pc:docMk/>
          <pc:sldMk cId="2804422411" sldId="518"/>
        </pc:sldMkLst>
      </pc:sldChg>
      <pc:sldChg chg="del">
        <pc:chgData name="Tony M P" userId="ae1e3ab533ed63fd" providerId="LiveId" clId="{713F5F7A-E732-47F7-A136-40AF775938B3}" dt="2022-11-15T14:21:20.334" v="894" actId="47"/>
        <pc:sldMkLst>
          <pc:docMk/>
          <pc:sldMk cId="2113802242" sldId="519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2993640372" sldId="519"/>
        </pc:sldMkLst>
      </pc:sldChg>
      <pc:sldChg chg="del">
        <pc:chgData name="Tony M P" userId="ae1e3ab533ed63fd" providerId="LiveId" clId="{713F5F7A-E732-47F7-A136-40AF775938B3}" dt="2022-11-15T14:21:20.115" v="893" actId="47"/>
        <pc:sldMkLst>
          <pc:docMk/>
          <pc:sldMk cId="1394327505" sldId="520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2221198243" sldId="520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056591873" sldId="521"/>
        </pc:sldMkLst>
      </pc:sldChg>
      <pc:sldChg chg="del">
        <pc:chgData name="Tony M P" userId="ae1e3ab533ed63fd" providerId="LiveId" clId="{713F5F7A-E732-47F7-A136-40AF775938B3}" dt="2022-11-15T14:21:22.646" v="902" actId="47"/>
        <pc:sldMkLst>
          <pc:docMk/>
          <pc:sldMk cId="3275231645" sldId="521"/>
        </pc:sldMkLst>
      </pc:sldChg>
      <pc:sldChg chg="del">
        <pc:chgData name="Tony M P" userId="ae1e3ab533ed63fd" providerId="LiveId" clId="{713F5F7A-E732-47F7-A136-40AF775938B3}" dt="2022-11-15T14:21:22.005" v="901" actId="47"/>
        <pc:sldMkLst>
          <pc:docMk/>
          <pc:sldMk cId="2186855087" sldId="522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2595728018" sldId="522"/>
        </pc:sldMkLst>
      </pc:sldChg>
      <pc:sldChg chg="del">
        <pc:chgData name="Tony M P" userId="ae1e3ab533ed63fd" providerId="LiveId" clId="{713F5F7A-E732-47F7-A136-40AF775938B3}" dt="2022-11-15T14:21:21.615" v="900" actId="47"/>
        <pc:sldMkLst>
          <pc:docMk/>
          <pc:sldMk cId="2667373713" sldId="523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034918109" sldId="523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874240356" sldId="524"/>
        </pc:sldMkLst>
      </pc:sldChg>
      <pc:sldChg chg="del">
        <pc:chgData name="Tony M P" userId="ae1e3ab533ed63fd" providerId="LiveId" clId="{713F5F7A-E732-47F7-A136-40AF775938B3}" dt="2022-11-15T14:21:21.396" v="899" actId="47"/>
        <pc:sldMkLst>
          <pc:docMk/>
          <pc:sldMk cId="3533262376" sldId="524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011179604" sldId="525"/>
        </pc:sldMkLst>
      </pc:sldChg>
      <pc:sldChg chg="del">
        <pc:chgData name="Tony M P" userId="ae1e3ab533ed63fd" providerId="LiveId" clId="{713F5F7A-E732-47F7-A136-40AF775938B3}" dt="2022-11-15T14:21:21.178" v="898" actId="47"/>
        <pc:sldMkLst>
          <pc:docMk/>
          <pc:sldMk cId="2856663137" sldId="525"/>
        </pc:sldMkLst>
      </pc:sldChg>
      <pc:sldChg chg="del">
        <pc:chgData name="Tony M P" userId="ae1e3ab533ed63fd" providerId="LiveId" clId="{713F5F7A-E732-47F7-A136-40AF775938B3}" dt="2022-11-14T10:40:02.089" v="819" actId="47"/>
        <pc:sldMkLst>
          <pc:docMk/>
          <pc:sldMk cId="3396715092" sldId="526"/>
        </pc:sldMkLst>
      </pc:sldChg>
      <pc:sldChg chg="del">
        <pc:chgData name="Tony M P" userId="ae1e3ab533ed63fd" providerId="LiveId" clId="{713F5F7A-E732-47F7-A136-40AF775938B3}" dt="2022-11-15T14:21:23.614" v="904" actId="47"/>
        <pc:sldMkLst>
          <pc:docMk/>
          <pc:sldMk cId="1041542987" sldId="52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369620382" sldId="527"/>
        </pc:sldMkLst>
      </pc:sldChg>
      <pc:sldChg chg="del">
        <pc:chgData name="Tony M P" userId="ae1e3ab533ed63fd" providerId="LiveId" clId="{713F5F7A-E732-47F7-A136-40AF775938B3}" dt="2022-11-15T14:21:23.083" v="903" actId="47"/>
        <pc:sldMkLst>
          <pc:docMk/>
          <pc:sldMk cId="1131928595" sldId="528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753244539" sldId="528"/>
        </pc:sldMkLst>
      </pc:sldChg>
      <pc:sldChg chg="del">
        <pc:chgData name="Tony M P" userId="ae1e3ab533ed63fd" providerId="LiveId" clId="{713F5F7A-E732-47F7-A136-40AF775938B3}" dt="2022-11-15T14:21:32.034" v="921" actId="47"/>
        <pc:sldMkLst>
          <pc:docMk/>
          <pc:sldMk cId="1245909079" sldId="529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988432447" sldId="529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733204578" sldId="530"/>
        </pc:sldMkLst>
      </pc:sldChg>
      <pc:sldChg chg="del">
        <pc:chgData name="Tony M P" userId="ae1e3ab533ed63fd" providerId="LiveId" clId="{713F5F7A-E732-47F7-A136-40AF775938B3}" dt="2022-11-15T14:21:24.302" v="905" actId="47"/>
        <pc:sldMkLst>
          <pc:docMk/>
          <pc:sldMk cId="3451386368" sldId="530"/>
        </pc:sldMkLst>
      </pc:sldChg>
      <pc:sldChg chg="del">
        <pc:chgData name="Tony M P" userId="ae1e3ab533ed63fd" providerId="LiveId" clId="{713F5F7A-E732-47F7-A136-40AF775938B3}" dt="2022-11-14T00:39:42.777" v="301" actId="47"/>
        <pc:sldMkLst>
          <pc:docMk/>
          <pc:sldMk cId="482021419" sldId="531"/>
        </pc:sldMkLst>
      </pc:sldChg>
      <pc:sldChg chg="del">
        <pc:chgData name="Tony M P" userId="ae1e3ab533ed63fd" providerId="LiveId" clId="{713F5F7A-E732-47F7-A136-40AF775938B3}" dt="2022-11-14T00:39:33.295" v="300" actId="47"/>
        <pc:sldMkLst>
          <pc:docMk/>
          <pc:sldMk cId="4013574207" sldId="532"/>
        </pc:sldMkLst>
      </pc:sldChg>
      <pc:sldChg chg="del">
        <pc:chgData name="Tony M P" userId="ae1e3ab533ed63fd" providerId="LiveId" clId="{713F5F7A-E732-47F7-A136-40AF775938B3}" dt="2022-11-14T00:39:32.717" v="299" actId="47"/>
        <pc:sldMkLst>
          <pc:docMk/>
          <pc:sldMk cId="1113634377" sldId="533"/>
        </pc:sldMkLst>
      </pc:sldChg>
      <pc:sldChg chg="del">
        <pc:chgData name="Tony M P" userId="ae1e3ab533ed63fd" providerId="LiveId" clId="{713F5F7A-E732-47F7-A136-40AF775938B3}" dt="2022-11-14T00:39:32.123" v="298" actId="47"/>
        <pc:sldMkLst>
          <pc:docMk/>
          <pc:sldMk cId="1604886790" sldId="534"/>
        </pc:sldMkLst>
      </pc:sldChg>
      <pc:sldChg chg="del">
        <pc:chgData name="Tony M P" userId="ae1e3ab533ed63fd" providerId="LiveId" clId="{713F5F7A-E732-47F7-A136-40AF775938B3}" dt="2022-11-14T00:39:31.561" v="297" actId="47"/>
        <pc:sldMkLst>
          <pc:docMk/>
          <pc:sldMk cId="434067555" sldId="535"/>
        </pc:sldMkLst>
      </pc:sldChg>
      <pc:sldChg chg="del">
        <pc:chgData name="Tony M P" userId="ae1e3ab533ed63fd" providerId="LiveId" clId="{713F5F7A-E732-47F7-A136-40AF775938B3}" dt="2022-11-14T00:39:30.999" v="296" actId="47"/>
        <pc:sldMkLst>
          <pc:docMk/>
          <pc:sldMk cId="1246941248" sldId="536"/>
        </pc:sldMkLst>
      </pc:sldChg>
      <pc:sldChg chg="del">
        <pc:chgData name="Tony M P" userId="ae1e3ab533ed63fd" providerId="LiveId" clId="{713F5F7A-E732-47F7-A136-40AF775938B3}" dt="2022-11-14T00:39:30.514" v="295" actId="47"/>
        <pc:sldMkLst>
          <pc:docMk/>
          <pc:sldMk cId="1450448782" sldId="537"/>
        </pc:sldMkLst>
      </pc:sldChg>
      <pc:sldChg chg="del">
        <pc:chgData name="Tony M P" userId="ae1e3ab533ed63fd" providerId="LiveId" clId="{713F5F7A-E732-47F7-A136-40AF775938B3}" dt="2022-11-14T00:39:30.014" v="294" actId="47"/>
        <pc:sldMkLst>
          <pc:docMk/>
          <pc:sldMk cId="1581202678" sldId="538"/>
        </pc:sldMkLst>
      </pc:sldChg>
      <pc:sldChg chg="del">
        <pc:chgData name="Tony M P" userId="ae1e3ab533ed63fd" providerId="LiveId" clId="{713F5F7A-E732-47F7-A136-40AF775938B3}" dt="2022-11-14T00:39:29.421" v="293" actId="47"/>
        <pc:sldMkLst>
          <pc:docMk/>
          <pc:sldMk cId="6229354" sldId="539"/>
        </pc:sldMkLst>
      </pc:sldChg>
      <pc:sldChg chg="del">
        <pc:chgData name="Tony M P" userId="ae1e3ab533ed63fd" providerId="LiveId" clId="{713F5F7A-E732-47F7-A136-40AF775938B3}" dt="2022-11-14T00:39:43.792" v="302" actId="47"/>
        <pc:sldMkLst>
          <pc:docMk/>
          <pc:sldMk cId="47131973" sldId="542"/>
        </pc:sldMkLst>
      </pc:sldChg>
      <pc:sldChg chg="del">
        <pc:chgData name="Tony M P" userId="ae1e3ab533ed63fd" providerId="LiveId" clId="{713F5F7A-E732-47F7-A136-40AF775938B3}" dt="2022-11-14T01:57:25.577" v="328" actId="47"/>
        <pc:sldMkLst>
          <pc:docMk/>
          <pc:sldMk cId="181988907" sldId="544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2128202579" sldId="718"/>
        </pc:sldMkLst>
      </pc:sldChg>
      <pc:sldChg chg="del">
        <pc:chgData name="Tony M P" userId="ae1e3ab533ed63fd" providerId="LiveId" clId="{713F5F7A-E732-47F7-A136-40AF775938B3}" dt="2022-11-15T14:21:08.165" v="868" actId="47"/>
        <pc:sldMkLst>
          <pc:docMk/>
          <pc:sldMk cId="2425773956" sldId="718"/>
        </pc:sldMkLst>
      </pc:sldChg>
      <pc:sldChg chg="del">
        <pc:chgData name="Tony M P" userId="ae1e3ab533ed63fd" providerId="LiveId" clId="{713F5F7A-E732-47F7-A136-40AF775938B3}" dt="2022-11-14T01:56:45.227" v="318" actId="47"/>
        <pc:sldMkLst>
          <pc:docMk/>
          <pc:sldMk cId="2514603918" sldId="720"/>
        </pc:sldMkLst>
      </pc:sldChg>
      <pc:sldChg chg="del">
        <pc:chgData name="Tony M P" userId="ae1e3ab533ed63fd" providerId="LiveId" clId="{713F5F7A-E732-47F7-A136-40AF775938B3}" dt="2022-11-15T14:21:27.161" v="907" actId="47"/>
        <pc:sldMkLst>
          <pc:docMk/>
          <pc:sldMk cId="1781549206" sldId="721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193905492" sldId="721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2251855850" sldId="722"/>
        </pc:sldMkLst>
      </pc:sldChg>
      <pc:sldChg chg="del">
        <pc:chgData name="Tony M P" userId="ae1e3ab533ed63fd" providerId="LiveId" clId="{713F5F7A-E732-47F7-A136-40AF775938B3}" dt="2022-11-15T14:21:28.238" v="909" actId="47"/>
        <pc:sldMkLst>
          <pc:docMk/>
          <pc:sldMk cId="3947784122" sldId="722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2020954608" sldId="723"/>
        </pc:sldMkLst>
      </pc:sldChg>
      <pc:sldChg chg="del">
        <pc:chgData name="Tony M P" userId="ae1e3ab533ed63fd" providerId="LiveId" clId="{713F5F7A-E732-47F7-A136-40AF775938B3}" dt="2022-11-15T14:21:28.582" v="910" actId="47"/>
        <pc:sldMkLst>
          <pc:docMk/>
          <pc:sldMk cId="2896404633" sldId="723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2700534315" sldId="724"/>
        </pc:sldMkLst>
      </pc:sldChg>
      <pc:sldChg chg="del">
        <pc:chgData name="Tony M P" userId="ae1e3ab533ed63fd" providerId="LiveId" clId="{713F5F7A-E732-47F7-A136-40AF775938B3}" dt="2022-11-15T14:21:28.801" v="911" actId="47"/>
        <pc:sldMkLst>
          <pc:docMk/>
          <pc:sldMk cId="2988215961" sldId="724"/>
        </pc:sldMkLst>
      </pc:sldChg>
      <pc:sldChg chg="del">
        <pc:chgData name="Tony M P" userId="ae1e3ab533ed63fd" providerId="LiveId" clId="{713F5F7A-E732-47F7-A136-40AF775938B3}" dt="2022-11-15T14:21:28.988" v="912" actId="47"/>
        <pc:sldMkLst>
          <pc:docMk/>
          <pc:sldMk cId="21532614" sldId="725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4212105343" sldId="725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1560185994" sldId="726"/>
        </pc:sldMkLst>
      </pc:sldChg>
      <pc:sldChg chg="del">
        <pc:chgData name="Tony M P" userId="ae1e3ab533ed63fd" providerId="LiveId" clId="{713F5F7A-E732-47F7-A136-40AF775938B3}" dt="2022-11-15T14:21:29.191" v="913" actId="47"/>
        <pc:sldMkLst>
          <pc:docMk/>
          <pc:sldMk cId="1628884017" sldId="726"/>
        </pc:sldMkLst>
      </pc:sldChg>
      <pc:sldChg chg="del">
        <pc:chgData name="Tony M P" userId="ae1e3ab533ed63fd" providerId="LiveId" clId="{713F5F7A-E732-47F7-A136-40AF775938B3}" dt="2022-11-15T14:21:29.394" v="914" actId="47"/>
        <pc:sldMkLst>
          <pc:docMk/>
          <pc:sldMk cId="1437216225" sldId="727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497560807" sldId="727"/>
        </pc:sldMkLst>
      </pc:sldChg>
      <pc:sldChg chg="del">
        <pc:chgData name="Tony M P" userId="ae1e3ab533ed63fd" providerId="LiveId" clId="{713F5F7A-E732-47F7-A136-40AF775938B3}" dt="2022-11-15T14:21:29.613" v="915" actId="47"/>
        <pc:sldMkLst>
          <pc:docMk/>
          <pc:sldMk cId="615744683" sldId="728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4230423952" sldId="728"/>
        </pc:sldMkLst>
      </pc:sldChg>
      <pc:sldChg chg="del">
        <pc:chgData name="Tony M P" userId="ae1e3ab533ed63fd" providerId="LiveId" clId="{713F5F7A-E732-47F7-A136-40AF775938B3}" dt="2022-11-15T14:21:29.879" v="916" actId="47"/>
        <pc:sldMkLst>
          <pc:docMk/>
          <pc:sldMk cId="758128980" sldId="729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1263090920" sldId="729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2032420038" sldId="730"/>
        </pc:sldMkLst>
      </pc:sldChg>
      <pc:sldChg chg="del">
        <pc:chgData name="Tony M P" userId="ae1e3ab533ed63fd" providerId="LiveId" clId="{713F5F7A-E732-47F7-A136-40AF775938B3}" dt="2022-11-15T14:21:30.300" v="917" actId="47"/>
        <pc:sldMkLst>
          <pc:docMk/>
          <pc:sldMk cId="3413501972" sldId="730"/>
        </pc:sldMkLst>
      </pc:sldChg>
      <pc:sldChg chg="del">
        <pc:chgData name="Tony M P" userId="ae1e3ab533ed63fd" providerId="LiveId" clId="{713F5F7A-E732-47F7-A136-40AF775938B3}" dt="2022-11-15T14:21:30.628" v="918" actId="47"/>
        <pc:sldMkLst>
          <pc:docMk/>
          <pc:sldMk cId="898864291" sldId="731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1240974790" sldId="731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534801393" sldId="732"/>
        </pc:sldMkLst>
      </pc:sldChg>
      <pc:sldChg chg="del">
        <pc:chgData name="Tony M P" userId="ae1e3ab533ed63fd" providerId="LiveId" clId="{713F5F7A-E732-47F7-A136-40AF775938B3}" dt="2022-11-15T14:21:31.003" v="919" actId="47"/>
        <pc:sldMkLst>
          <pc:docMk/>
          <pc:sldMk cId="3703549929" sldId="732"/>
        </pc:sldMkLst>
      </pc:sldChg>
      <pc:sldChg chg="del">
        <pc:chgData name="Tony M P" userId="ae1e3ab533ed63fd" providerId="LiveId" clId="{713F5F7A-E732-47F7-A136-40AF775938B3}" dt="2022-11-15T14:21:31.613" v="920" actId="47"/>
        <pc:sldMkLst>
          <pc:docMk/>
          <pc:sldMk cId="2888103222" sldId="733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143272857" sldId="733"/>
        </pc:sldMkLst>
      </pc:sldChg>
      <pc:sldChg chg="del">
        <pc:chgData name="Tony M P" userId="ae1e3ab533ed63fd" providerId="LiveId" clId="{713F5F7A-E732-47F7-A136-40AF775938B3}" dt="2022-11-15T14:21:32.565" v="922" actId="47"/>
        <pc:sldMkLst>
          <pc:docMk/>
          <pc:sldMk cId="1725286560" sldId="734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1938554907" sldId="734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803393674" sldId="735"/>
        </pc:sldMkLst>
      </pc:sldChg>
      <pc:sldChg chg="del">
        <pc:chgData name="Tony M P" userId="ae1e3ab533ed63fd" providerId="LiveId" clId="{713F5F7A-E732-47F7-A136-40AF775938B3}" dt="2022-11-15T14:21:33.003" v="923" actId="47"/>
        <pc:sldMkLst>
          <pc:docMk/>
          <pc:sldMk cId="3857297607" sldId="735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5970664" sldId="736"/>
        </pc:sldMkLst>
      </pc:sldChg>
      <pc:sldChg chg="del">
        <pc:chgData name="Tony M P" userId="ae1e3ab533ed63fd" providerId="LiveId" clId="{713F5F7A-E732-47F7-A136-40AF775938B3}" dt="2022-11-15T14:21:33.550" v="924" actId="47"/>
        <pc:sldMkLst>
          <pc:docMk/>
          <pc:sldMk cId="2770106082" sldId="736"/>
        </pc:sldMkLst>
      </pc:sldChg>
      <pc:sldChg chg="del">
        <pc:chgData name="Tony M P" userId="ae1e3ab533ed63fd" providerId="LiveId" clId="{713F5F7A-E732-47F7-A136-40AF775938B3}" dt="2022-11-15T14:21:34.034" v="925" actId="47"/>
        <pc:sldMkLst>
          <pc:docMk/>
          <pc:sldMk cId="1229704613" sldId="737"/>
        </pc:sldMkLst>
      </pc:sldChg>
      <pc:sldChg chg="del">
        <pc:chgData name="Tony M P" userId="ae1e3ab533ed63fd" providerId="LiveId" clId="{713F5F7A-E732-47F7-A136-40AF775938B3}" dt="2022-11-14T13:09:33.225" v="857" actId="2696"/>
        <pc:sldMkLst>
          <pc:docMk/>
          <pc:sldMk cId="3555800409" sldId="737"/>
        </pc:sldMkLst>
      </pc:sldChg>
      <pc:sldChg chg="del">
        <pc:chgData name="Tony M P" userId="ae1e3ab533ed63fd" providerId="LiveId" clId="{713F5F7A-E732-47F7-A136-40AF775938B3}" dt="2022-11-14T01:56:55.974" v="319" actId="47"/>
        <pc:sldMkLst>
          <pc:docMk/>
          <pc:sldMk cId="2434754289" sldId="738"/>
        </pc:sldMkLst>
      </pc:sldChg>
      <pc:sldChg chg="del">
        <pc:chgData name="Tony M P" userId="ae1e3ab533ed63fd" providerId="LiveId" clId="{713F5F7A-E732-47F7-A136-40AF775938B3}" dt="2022-11-14T01:56:56.333" v="320" actId="47"/>
        <pc:sldMkLst>
          <pc:docMk/>
          <pc:sldMk cId="99555795" sldId="739"/>
        </pc:sldMkLst>
      </pc:sldChg>
      <pc:sldChg chg="del">
        <pc:chgData name="Tony M P" userId="ae1e3ab533ed63fd" providerId="LiveId" clId="{713F5F7A-E732-47F7-A136-40AF775938B3}" dt="2022-11-14T01:56:56.771" v="321" actId="47"/>
        <pc:sldMkLst>
          <pc:docMk/>
          <pc:sldMk cId="2484403391" sldId="740"/>
        </pc:sldMkLst>
      </pc:sldChg>
      <pc:sldChg chg="del">
        <pc:chgData name="Tony M P" userId="ae1e3ab533ed63fd" providerId="LiveId" clId="{713F5F7A-E732-47F7-A136-40AF775938B3}" dt="2022-11-14T01:56:57.255" v="322" actId="47"/>
        <pc:sldMkLst>
          <pc:docMk/>
          <pc:sldMk cId="2535333057" sldId="741"/>
        </pc:sldMkLst>
      </pc:sldChg>
      <pc:sldChg chg="del">
        <pc:chgData name="Tony M P" userId="ae1e3ab533ed63fd" providerId="LiveId" clId="{713F5F7A-E732-47F7-A136-40AF775938B3}" dt="2022-11-14T01:56:57.880" v="323" actId="47"/>
        <pc:sldMkLst>
          <pc:docMk/>
          <pc:sldMk cId="1967421018" sldId="742"/>
        </pc:sldMkLst>
      </pc:sldChg>
      <pc:sldChg chg="del">
        <pc:chgData name="Tony M P" userId="ae1e3ab533ed63fd" providerId="LiveId" clId="{713F5F7A-E732-47F7-A136-40AF775938B3}" dt="2022-11-14T01:56:58.567" v="324" actId="47"/>
        <pc:sldMkLst>
          <pc:docMk/>
          <pc:sldMk cId="1296971087" sldId="743"/>
        </pc:sldMkLst>
      </pc:sldChg>
      <pc:sldChg chg="del">
        <pc:chgData name="Tony M P" userId="ae1e3ab533ed63fd" providerId="LiveId" clId="{713F5F7A-E732-47F7-A136-40AF775938B3}" dt="2022-11-14T01:56:59.083" v="325" actId="47"/>
        <pc:sldMkLst>
          <pc:docMk/>
          <pc:sldMk cId="787520499" sldId="744"/>
        </pc:sldMkLst>
      </pc:sldChg>
      <pc:sldChg chg="del">
        <pc:chgData name="Tony M P" userId="ae1e3ab533ed63fd" providerId="LiveId" clId="{713F5F7A-E732-47F7-A136-40AF775938B3}" dt="2022-11-14T01:56:59.583" v="326" actId="47"/>
        <pc:sldMkLst>
          <pc:docMk/>
          <pc:sldMk cId="2308971379" sldId="745"/>
        </pc:sldMkLst>
      </pc:sldChg>
      <pc:sldChg chg="del">
        <pc:chgData name="Tony M P" userId="ae1e3ab533ed63fd" providerId="LiveId" clId="{713F5F7A-E732-47F7-A136-40AF775938B3}" dt="2022-11-14T01:57:00.192" v="327" actId="47"/>
        <pc:sldMkLst>
          <pc:docMk/>
          <pc:sldMk cId="4029744770" sldId="746"/>
        </pc:sldMkLst>
      </pc:sldChg>
      <pc:sldChg chg="del">
        <pc:chgData name="Tony M P" userId="ae1e3ab533ed63fd" providerId="LiveId" clId="{713F5F7A-E732-47F7-A136-40AF775938B3}" dt="2022-11-14T01:57:26.654" v="329" actId="47"/>
        <pc:sldMkLst>
          <pc:docMk/>
          <pc:sldMk cId="3114371688" sldId="748"/>
        </pc:sldMkLst>
      </pc:sldChg>
      <pc:sldChg chg="del">
        <pc:chgData name="Tony M P" userId="ae1e3ab533ed63fd" providerId="LiveId" clId="{713F5F7A-E732-47F7-A136-40AF775938B3}" dt="2022-11-14T01:56:18.874" v="306" actId="47"/>
        <pc:sldMkLst>
          <pc:docMk/>
          <pc:sldMk cId="4146818928" sldId="750"/>
        </pc:sldMkLst>
      </pc:sldChg>
      <pc:sldChg chg="del">
        <pc:chgData name="Tony M P" userId="ae1e3ab533ed63fd" providerId="LiveId" clId="{713F5F7A-E732-47F7-A136-40AF775938B3}" dt="2022-11-14T01:56:20.529" v="307" actId="47"/>
        <pc:sldMkLst>
          <pc:docMk/>
          <pc:sldMk cId="3196131332" sldId="751"/>
        </pc:sldMkLst>
      </pc:sldChg>
      <pc:sldChg chg="del">
        <pc:chgData name="Tony M P" userId="ae1e3ab533ed63fd" providerId="LiveId" clId="{713F5F7A-E732-47F7-A136-40AF775938B3}" dt="2022-11-14T01:56:21.607" v="308" actId="47"/>
        <pc:sldMkLst>
          <pc:docMk/>
          <pc:sldMk cId="1022419349" sldId="752"/>
        </pc:sldMkLst>
      </pc:sldChg>
      <pc:sldChg chg="del">
        <pc:chgData name="Tony M P" userId="ae1e3ab533ed63fd" providerId="LiveId" clId="{713F5F7A-E732-47F7-A136-40AF775938B3}" dt="2022-11-14T01:56:23.232" v="309" actId="47"/>
        <pc:sldMkLst>
          <pc:docMk/>
          <pc:sldMk cId="2278815071" sldId="753"/>
        </pc:sldMkLst>
      </pc:sldChg>
      <pc:sldChg chg="del">
        <pc:chgData name="Tony M P" userId="ae1e3ab533ed63fd" providerId="LiveId" clId="{713F5F7A-E732-47F7-A136-40AF775938B3}" dt="2022-11-14T01:56:25.669" v="310" actId="47"/>
        <pc:sldMkLst>
          <pc:docMk/>
          <pc:sldMk cId="1335995194" sldId="754"/>
        </pc:sldMkLst>
      </pc:sldChg>
      <pc:sldChg chg="del">
        <pc:chgData name="Tony M P" userId="ae1e3ab533ed63fd" providerId="LiveId" clId="{713F5F7A-E732-47F7-A136-40AF775938B3}" dt="2022-11-14T12:44:27.544" v="838" actId="2696"/>
        <pc:sldMkLst>
          <pc:docMk/>
          <pc:sldMk cId="1916715089" sldId="755"/>
        </pc:sldMkLst>
      </pc:sldChg>
      <pc:sldChg chg="del">
        <pc:chgData name="Tony M P" userId="ae1e3ab533ed63fd" providerId="LiveId" clId="{713F5F7A-E732-47F7-A136-40AF775938B3}" dt="2022-11-15T14:21:18.631" v="889" actId="47"/>
        <pc:sldMkLst>
          <pc:docMk/>
          <pc:sldMk cId="1118874990" sldId="75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980042803" sldId="757"/>
        </pc:sldMkLst>
      </pc:sldChg>
      <pc:sldChg chg="del">
        <pc:chgData name="Tony M P" userId="ae1e3ab533ed63fd" providerId="LiveId" clId="{713F5F7A-E732-47F7-A136-40AF775938B3}" dt="2022-11-14T12:45:28.655" v="839" actId="2696"/>
        <pc:sldMkLst>
          <pc:docMk/>
          <pc:sldMk cId="1907673216" sldId="759"/>
        </pc:sldMkLst>
      </pc:sldChg>
      <pc:sldChg chg="add del">
        <pc:chgData name="Tony M P" userId="ae1e3ab533ed63fd" providerId="LiveId" clId="{713F5F7A-E732-47F7-A136-40AF775938B3}" dt="2022-11-14T00:38:38.058" v="288" actId="47"/>
        <pc:sldMkLst>
          <pc:docMk/>
          <pc:sldMk cId="1694679824" sldId="762"/>
        </pc:sldMkLst>
      </pc:sldChg>
      <pc:sldChg chg="del">
        <pc:chgData name="Tony M P" userId="ae1e3ab533ed63fd" providerId="LiveId" clId="{713F5F7A-E732-47F7-A136-40AF775938B3}" dt="2022-11-14T12:45:28.655" v="839" actId="2696"/>
        <pc:sldMkLst>
          <pc:docMk/>
          <pc:sldMk cId="788642201" sldId="763"/>
        </pc:sldMkLst>
      </pc:sldChg>
      <pc:sldChg chg="del">
        <pc:chgData name="Tony M P" userId="ae1e3ab533ed63fd" providerId="LiveId" clId="{713F5F7A-E732-47F7-A136-40AF775938B3}" dt="2022-11-14T12:45:28.655" v="839" actId="2696"/>
        <pc:sldMkLst>
          <pc:docMk/>
          <pc:sldMk cId="76663955" sldId="767"/>
        </pc:sldMkLst>
      </pc:sldChg>
      <pc:sldChg chg="del">
        <pc:chgData name="Tony M P" userId="ae1e3ab533ed63fd" providerId="LiveId" clId="{713F5F7A-E732-47F7-A136-40AF775938B3}" dt="2022-11-14T12:50:43.793" v="840" actId="47"/>
        <pc:sldMkLst>
          <pc:docMk/>
          <pc:sldMk cId="2366544952" sldId="770"/>
        </pc:sldMkLst>
      </pc:sldChg>
      <pc:sldChg chg="del">
        <pc:chgData name="Tony M P" userId="ae1e3ab533ed63fd" providerId="LiveId" clId="{713F5F7A-E732-47F7-A136-40AF775938B3}" dt="2022-11-14T12:51:07.349" v="841" actId="47"/>
        <pc:sldMkLst>
          <pc:docMk/>
          <pc:sldMk cId="2858544582" sldId="771"/>
        </pc:sldMkLst>
      </pc:sldChg>
      <pc:sldChg chg="del">
        <pc:chgData name="Tony M P" userId="ae1e3ab533ed63fd" providerId="LiveId" clId="{713F5F7A-E732-47F7-A136-40AF775938B3}" dt="2022-11-14T12:51:09.161" v="843" actId="47"/>
        <pc:sldMkLst>
          <pc:docMk/>
          <pc:sldMk cId="2743925363" sldId="773"/>
        </pc:sldMkLst>
      </pc:sldChg>
      <pc:sldChg chg="del">
        <pc:chgData name="Tony M P" userId="ae1e3ab533ed63fd" providerId="LiveId" clId="{713F5F7A-E732-47F7-A136-40AF775938B3}" dt="2022-11-14T12:51:10.145" v="844" actId="47"/>
        <pc:sldMkLst>
          <pc:docMk/>
          <pc:sldMk cId="2887510474" sldId="774"/>
        </pc:sldMkLst>
      </pc:sldChg>
      <pc:sldChg chg="del">
        <pc:chgData name="Tony M P" userId="ae1e3ab533ed63fd" providerId="LiveId" clId="{713F5F7A-E732-47F7-A136-40AF775938B3}" dt="2022-11-14T12:51:25.766" v="845" actId="47"/>
        <pc:sldMkLst>
          <pc:docMk/>
          <pc:sldMk cId="2815594336" sldId="778"/>
        </pc:sldMkLst>
      </pc:sldChg>
      <pc:sldChg chg="add del">
        <pc:chgData name="Tony M P" userId="ae1e3ab533ed63fd" providerId="LiveId" clId="{713F5F7A-E732-47F7-A136-40AF775938B3}" dt="2022-11-14T12:51:56.572" v="849" actId="47"/>
        <pc:sldMkLst>
          <pc:docMk/>
          <pc:sldMk cId="393274778" sldId="780"/>
        </pc:sldMkLst>
      </pc:sldChg>
      <pc:sldChg chg="add del">
        <pc:chgData name="Tony M P" userId="ae1e3ab533ed63fd" providerId="LiveId" clId="{713F5F7A-E732-47F7-A136-40AF775938B3}" dt="2022-11-14T12:52:00.383" v="850" actId="47"/>
        <pc:sldMkLst>
          <pc:docMk/>
          <pc:sldMk cId="2515029579" sldId="781"/>
        </pc:sldMkLst>
      </pc:sldChg>
      <pc:sldChg chg="del">
        <pc:chgData name="Tony M P" userId="ae1e3ab533ed63fd" providerId="LiveId" clId="{713F5F7A-E732-47F7-A136-40AF775938B3}" dt="2022-11-14T13:03:08.549" v="853" actId="47"/>
        <pc:sldMkLst>
          <pc:docMk/>
          <pc:sldMk cId="500883573" sldId="790"/>
        </pc:sldMkLst>
      </pc:sldChg>
      <pc:sldChg chg="del">
        <pc:chgData name="Tony M P" userId="ae1e3ab533ed63fd" providerId="LiveId" clId="{713F5F7A-E732-47F7-A136-40AF775938B3}" dt="2022-11-14T13:03:09.268" v="854" actId="47"/>
        <pc:sldMkLst>
          <pc:docMk/>
          <pc:sldMk cId="856881211" sldId="791"/>
        </pc:sldMkLst>
      </pc:sldChg>
      <pc:sldChg chg="del">
        <pc:chgData name="Tony M P" userId="ae1e3ab533ed63fd" providerId="LiveId" clId="{713F5F7A-E732-47F7-A136-40AF775938B3}" dt="2022-11-15T14:21:08.821" v="869" actId="47"/>
        <pc:sldMkLst>
          <pc:docMk/>
          <pc:sldMk cId="2810645224" sldId="795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4191788764" sldId="795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383502835" sldId="796"/>
        </pc:sldMkLst>
      </pc:sldChg>
      <pc:sldChg chg="del">
        <pc:chgData name="Tony M P" userId="ae1e3ab533ed63fd" providerId="LiveId" clId="{713F5F7A-E732-47F7-A136-40AF775938B3}" dt="2022-11-15T14:21:10.102" v="873" actId="47"/>
        <pc:sldMkLst>
          <pc:docMk/>
          <pc:sldMk cId="2707517449" sldId="796"/>
        </pc:sldMkLst>
      </pc:sldChg>
      <pc:sldChg chg="modSp mod">
        <pc:chgData name="Tony M P" userId="ae1e3ab533ed63fd" providerId="LiveId" clId="{713F5F7A-E732-47F7-A136-40AF775938B3}" dt="2022-11-14T10:34:40.433" v="806" actId="20577"/>
        <pc:sldMkLst>
          <pc:docMk/>
          <pc:sldMk cId="523359288" sldId="797"/>
        </pc:sldMkLst>
        <pc:spChg chg="mod">
          <ac:chgData name="Tony M P" userId="ae1e3ab533ed63fd" providerId="LiveId" clId="{713F5F7A-E732-47F7-A136-40AF775938B3}" dt="2022-11-14T10:34:40.433" v="806" actId="20577"/>
          <ac:spMkLst>
            <pc:docMk/>
            <pc:sldMk cId="523359288" sldId="797"/>
            <ac:spMk id="2" creationId="{4BC799D2-5201-4330-9C8D-74D2FCE087A1}"/>
          </ac:spMkLst>
        </pc:spChg>
      </pc:sldChg>
      <pc:sldChg chg="modSp mod">
        <pc:chgData name="Tony M P" userId="ae1e3ab533ed63fd" providerId="LiveId" clId="{713F5F7A-E732-47F7-A136-40AF775938B3}" dt="2022-11-14T10:34:47.669" v="810" actId="20577"/>
        <pc:sldMkLst>
          <pc:docMk/>
          <pc:sldMk cId="3601289923" sldId="798"/>
        </pc:sldMkLst>
        <pc:spChg chg="mod">
          <ac:chgData name="Tony M P" userId="ae1e3ab533ed63fd" providerId="LiveId" clId="{713F5F7A-E732-47F7-A136-40AF775938B3}" dt="2022-11-14T10:34:47.669" v="810" actId="20577"/>
          <ac:spMkLst>
            <pc:docMk/>
            <pc:sldMk cId="3601289923" sldId="798"/>
            <ac:spMk id="2" creationId="{4BC799D2-5201-4330-9C8D-74D2FCE087A1}"/>
          </ac:spMkLst>
        </pc:spChg>
      </pc:sldChg>
      <pc:sldChg chg="modSp mod">
        <pc:chgData name="Tony M P" userId="ae1e3ab533ed63fd" providerId="LiveId" clId="{713F5F7A-E732-47F7-A136-40AF775938B3}" dt="2022-11-14T10:34:52.734" v="814" actId="20577"/>
        <pc:sldMkLst>
          <pc:docMk/>
          <pc:sldMk cId="1328447230" sldId="799"/>
        </pc:sldMkLst>
        <pc:spChg chg="mod">
          <ac:chgData name="Tony M P" userId="ae1e3ab533ed63fd" providerId="LiveId" clId="{713F5F7A-E732-47F7-A136-40AF775938B3}" dt="2022-11-14T10:34:52.734" v="814" actId="20577"/>
          <ac:spMkLst>
            <pc:docMk/>
            <pc:sldMk cId="1328447230" sldId="799"/>
            <ac:spMk id="2" creationId="{4BC799D2-5201-4330-9C8D-74D2FCE087A1}"/>
          </ac:spMkLst>
        </pc:spChg>
      </pc:sldChg>
      <pc:sldChg chg="modSp mod">
        <pc:chgData name="Tony M P" userId="ae1e3ab533ed63fd" providerId="LiveId" clId="{713F5F7A-E732-47F7-A136-40AF775938B3}" dt="2022-11-14T10:34:58.807" v="818" actId="20577"/>
        <pc:sldMkLst>
          <pc:docMk/>
          <pc:sldMk cId="3721487665" sldId="800"/>
        </pc:sldMkLst>
        <pc:spChg chg="mod">
          <ac:chgData name="Tony M P" userId="ae1e3ab533ed63fd" providerId="LiveId" clId="{713F5F7A-E732-47F7-A136-40AF775938B3}" dt="2022-11-14T10:34:58.807" v="818" actId="20577"/>
          <ac:spMkLst>
            <pc:docMk/>
            <pc:sldMk cId="3721487665" sldId="800"/>
            <ac:spMk id="2" creationId="{4BC799D2-5201-4330-9C8D-74D2FCE087A1}"/>
          </ac:spMkLst>
        </pc:spChg>
      </pc:sldChg>
      <pc:sldChg chg="del">
        <pc:chgData name="Tony M P" userId="ae1e3ab533ed63fd" providerId="LiveId" clId="{713F5F7A-E732-47F7-A136-40AF775938B3}" dt="2022-11-14T00:38:09.080" v="283" actId="47"/>
        <pc:sldMkLst>
          <pc:docMk/>
          <pc:sldMk cId="332439708" sldId="801"/>
        </pc:sldMkLst>
      </pc:sldChg>
      <pc:sldChg chg="del">
        <pc:chgData name="Tony M P" userId="ae1e3ab533ed63fd" providerId="LiveId" clId="{713F5F7A-E732-47F7-A136-40AF775938B3}" dt="2022-11-14T00:38:09.861" v="284" actId="47"/>
        <pc:sldMkLst>
          <pc:docMk/>
          <pc:sldMk cId="454934540" sldId="802"/>
        </pc:sldMkLst>
      </pc:sldChg>
      <pc:sldChg chg="del">
        <pc:chgData name="Tony M P" userId="ae1e3ab533ed63fd" providerId="LiveId" clId="{713F5F7A-E732-47F7-A136-40AF775938B3}" dt="2022-11-14T00:38:08.502" v="282" actId="47"/>
        <pc:sldMkLst>
          <pc:docMk/>
          <pc:sldMk cId="3473950782" sldId="803"/>
        </pc:sldMkLst>
      </pc:sldChg>
      <pc:sldChg chg="add del">
        <pc:chgData name="Tony M P" userId="ae1e3ab533ed63fd" providerId="LiveId" clId="{713F5F7A-E732-47F7-A136-40AF775938B3}" dt="2022-11-14T00:38:48.274" v="291" actId="47"/>
        <pc:sldMkLst>
          <pc:docMk/>
          <pc:sldMk cId="825676471" sldId="804"/>
        </pc:sldMkLst>
      </pc:sldChg>
      <pc:sldChg chg="del">
        <pc:chgData name="Tony M P" userId="ae1e3ab533ed63fd" providerId="LiveId" clId="{713F5F7A-E732-47F7-A136-40AF775938B3}" dt="2022-11-14T10:40:23.146" v="820" actId="47"/>
        <pc:sldMkLst>
          <pc:docMk/>
          <pc:sldMk cId="821272602" sldId="857"/>
        </pc:sldMkLst>
      </pc:sldChg>
      <pc:sldChg chg="del">
        <pc:chgData name="Tony M P" userId="ae1e3ab533ed63fd" providerId="LiveId" clId="{713F5F7A-E732-47F7-A136-40AF775938B3}" dt="2022-11-14T01:56:04.080" v="304" actId="47"/>
        <pc:sldMkLst>
          <pc:docMk/>
          <pc:sldMk cId="1909184115" sldId="886"/>
        </pc:sldMkLst>
      </pc:sldChg>
      <pc:sldChg chg="del">
        <pc:chgData name="Tony M P" userId="ae1e3ab533ed63fd" providerId="LiveId" clId="{713F5F7A-E732-47F7-A136-40AF775938B3}" dt="2022-11-14T00:29:02.323" v="200" actId="47"/>
        <pc:sldMkLst>
          <pc:docMk/>
          <pc:sldMk cId="547034163" sldId="888"/>
        </pc:sldMkLst>
      </pc:sldChg>
      <pc:sldChg chg="add del">
        <pc:chgData name="Tony M P" userId="ae1e3ab533ed63fd" providerId="LiveId" clId="{713F5F7A-E732-47F7-A136-40AF775938B3}" dt="2022-11-14T00:38:41.854" v="289" actId="47"/>
        <pc:sldMkLst>
          <pc:docMk/>
          <pc:sldMk cId="2214866734" sldId="890"/>
        </pc:sldMkLst>
      </pc:sldChg>
      <pc:sldChg chg="del">
        <pc:chgData name="Tony M P" userId="ae1e3ab533ed63fd" providerId="LiveId" clId="{713F5F7A-E732-47F7-A136-40AF775938B3}" dt="2022-11-14T12:51:08.380" v="842" actId="47"/>
        <pc:sldMkLst>
          <pc:docMk/>
          <pc:sldMk cId="2197926099" sldId="893"/>
        </pc:sldMkLst>
      </pc:sldChg>
      <pc:sldChg chg="addSp delSp mod">
        <pc:chgData name="Tony M P" userId="ae1e3ab533ed63fd" providerId="LiveId" clId="{713F5F7A-E732-47F7-A136-40AF775938B3}" dt="2022-11-14T13:01:51.204" v="852"/>
        <pc:sldMkLst>
          <pc:docMk/>
          <pc:sldMk cId="1214316783" sldId="899"/>
        </pc:sldMkLst>
        <pc:picChg chg="del">
          <ac:chgData name="Tony M P" userId="ae1e3ab533ed63fd" providerId="LiveId" clId="{713F5F7A-E732-47F7-A136-40AF775938B3}" dt="2022-11-14T13:01:48.615" v="851" actId="478"/>
          <ac:picMkLst>
            <pc:docMk/>
            <pc:sldMk cId="1214316783" sldId="899"/>
            <ac:picMk id="2" creationId="{BF73827E-5D57-4521-8234-136B6A7FFB86}"/>
          </ac:picMkLst>
        </pc:picChg>
        <pc:picChg chg="add">
          <ac:chgData name="Tony M P" userId="ae1e3ab533ed63fd" providerId="LiveId" clId="{713F5F7A-E732-47F7-A136-40AF775938B3}" dt="2022-11-14T13:01:51.204" v="852"/>
          <ac:picMkLst>
            <pc:docMk/>
            <pc:sldMk cId="1214316783" sldId="899"/>
            <ac:picMk id="3" creationId="{26096C1C-D9DB-D84F-67BA-0DB1C6929B6A}"/>
          </ac:picMkLst>
        </pc:picChg>
      </pc:sldChg>
      <pc:sldChg chg="del">
        <pc:chgData name="Tony M P" userId="ae1e3ab533ed63fd" providerId="LiveId" clId="{713F5F7A-E732-47F7-A136-40AF775938B3}" dt="2022-11-14T12:43:33.080" v="837" actId="2696"/>
        <pc:sldMkLst>
          <pc:docMk/>
          <pc:sldMk cId="568445101" sldId="917"/>
        </pc:sldMkLst>
      </pc:sldChg>
      <pc:sldChg chg="del">
        <pc:chgData name="Tony M P" userId="ae1e3ab533ed63fd" providerId="LiveId" clId="{713F5F7A-E732-47F7-A136-40AF775938B3}" dt="2022-11-14T12:43:33.080" v="837" actId="2696"/>
        <pc:sldMkLst>
          <pc:docMk/>
          <pc:sldMk cId="1971800052" sldId="918"/>
        </pc:sldMkLst>
      </pc:sldChg>
      <pc:sldChg chg="del">
        <pc:chgData name="Tony M P" userId="ae1e3ab533ed63fd" providerId="LiveId" clId="{713F5F7A-E732-47F7-A136-40AF775938B3}" dt="2022-11-15T14:21:05.541" v="861" actId="47"/>
        <pc:sldMkLst>
          <pc:docMk/>
          <pc:sldMk cId="1268681297" sldId="919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1414873408" sldId="919"/>
        </pc:sldMkLst>
      </pc:sldChg>
      <pc:sldChg chg="del">
        <pc:chgData name="Tony M P" userId="ae1e3ab533ed63fd" providerId="LiveId" clId="{713F5F7A-E732-47F7-A136-40AF775938B3}" dt="2022-11-15T14:21:06.400" v="862" actId="47"/>
        <pc:sldMkLst>
          <pc:docMk/>
          <pc:sldMk cId="1004541735" sldId="920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1655731201" sldId="920"/>
        </pc:sldMkLst>
      </pc:sldChg>
      <pc:sldChg chg="del">
        <pc:chgData name="Tony M P" userId="ae1e3ab533ed63fd" providerId="LiveId" clId="{713F5F7A-E732-47F7-A136-40AF775938B3}" dt="2022-11-15T14:21:07.103" v="863" actId="47"/>
        <pc:sldMkLst>
          <pc:docMk/>
          <pc:sldMk cId="3318974977" sldId="921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3330609054" sldId="921"/>
        </pc:sldMkLst>
      </pc:sldChg>
      <pc:sldChg chg="del">
        <pc:chgData name="Tony M P" userId="ae1e3ab533ed63fd" providerId="LiveId" clId="{713F5F7A-E732-47F7-A136-40AF775938B3}" dt="2022-11-15T14:21:07.290" v="864" actId="47"/>
        <pc:sldMkLst>
          <pc:docMk/>
          <pc:sldMk cId="409012294" sldId="922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3102375085" sldId="922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3019464609" sldId="923"/>
        </pc:sldMkLst>
      </pc:sldChg>
      <pc:sldChg chg="del">
        <pc:chgData name="Tony M P" userId="ae1e3ab533ed63fd" providerId="LiveId" clId="{713F5F7A-E732-47F7-A136-40AF775938B3}" dt="2022-11-15T14:21:07.743" v="866" actId="47"/>
        <pc:sldMkLst>
          <pc:docMk/>
          <pc:sldMk cId="3202885634" sldId="923"/>
        </pc:sldMkLst>
      </pc:sldChg>
      <pc:sldChg chg="del">
        <pc:chgData name="Tony M P" userId="ae1e3ab533ed63fd" providerId="LiveId" clId="{713F5F7A-E732-47F7-A136-40AF775938B3}" dt="2022-11-15T14:21:07.931" v="867" actId="47"/>
        <pc:sldMkLst>
          <pc:docMk/>
          <pc:sldMk cId="1538299752" sldId="924"/>
        </pc:sldMkLst>
      </pc:sldChg>
      <pc:sldChg chg="modSp del mod">
        <pc:chgData name="Tony M P" userId="ae1e3ab533ed63fd" providerId="LiveId" clId="{713F5F7A-E732-47F7-A136-40AF775938B3}" dt="2022-11-14T10:30:37.412" v="798" actId="2696"/>
        <pc:sldMkLst>
          <pc:docMk/>
          <pc:sldMk cId="3099803992" sldId="924"/>
        </pc:sldMkLst>
        <pc:spChg chg="mod">
          <ac:chgData name="Tony M P" userId="ae1e3ab533ed63fd" providerId="LiveId" clId="{713F5F7A-E732-47F7-A136-40AF775938B3}" dt="2022-11-14T10:24:41.803" v="796" actId="6549"/>
          <ac:spMkLst>
            <pc:docMk/>
            <pc:sldMk cId="3099803992" sldId="924"/>
            <ac:spMk id="3" creationId="{1A0D75AF-4551-4813-824E-06D972287983}"/>
          </ac:spMkLst>
        </pc:spChg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2485815322" sldId="926"/>
        </pc:sldMkLst>
      </pc:sldChg>
      <pc:sldChg chg="del">
        <pc:chgData name="Tony M P" userId="ae1e3ab533ed63fd" providerId="LiveId" clId="{713F5F7A-E732-47F7-A136-40AF775938B3}" dt="2022-11-15T14:21:11.461" v="877" actId="47"/>
        <pc:sldMkLst>
          <pc:docMk/>
          <pc:sldMk cId="3006457473" sldId="926"/>
        </pc:sldMkLst>
      </pc:sldChg>
      <pc:sldChg chg="del">
        <pc:chgData name="Tony M P" userId="ae1e3ab533ed63fd" providerId="LiveId" clId="{713F5F7A-E732-47F7-A136-40AF775938B3}" dt="2022-11-14T00:37:16.233" v="281" actId="47"/>
        <pc:sldMkLst>
          <pc:docMk/>
          <pc:sldMk cId="196809386" sldId="927"/>
        </pc:sldMkLst>
      </pc:sldChg>
      <pc:sldChg chg="del">
        <pc:chgData name="Tony M P" userId="ae1e3ab533ed63fd" providerId="LiveId" clId="{713F5F7A-E732-47F7-A136-40AF775938B3}" dt="2022-11-14T01:56:38.400" v="314" actId="47"/>
        <pc:sldMkLst>
          <pc:docMk/>
          <pc:sldMk cId="998095401" sldId="927"/>
        </pc:sldMkLst>
      </pc:sldChg>
      <pc:sldChg chg="del">
        <pc:chgData name="Tony M P" userId="ae1e3ab533ed63fd" providerId="LiveId" clId="{713F5F7A-E732-47F7-A136-40AF775938B3}" dt="2022-11-14T01:56:40.478" v="315" actId="47"/>
        <pc:sldMkLst>
          <pc:docMk/>
          <pc:sldMk cId="2483684153" sldId="928"/>
        </pc:sldMkLst>
      </pc:sldChg>
      <pc:sldChg chg="modSp mod">
        <pc:chgData name="Tony M P" userId="ae1e3ab533ed63fd" providerId="LiveId" clId="{713F5F7A-E732-47F7-A136-40AF775938B3}" dt="2022-11-14T10:34:34.613" v="802" actId="20577"/>
        <pc:sldMkLst>
          <pc:docMk/>
          <pc:sldMk cId="3587085522" sldId="929"/>
        </pc:sldMkLst>
        <pc:spChg chg="mod">
          <ac:chgData name="Tony M P" userId="ae1e3ab533ed63fd" providerId="LiveId" clId="{713F5F7A-E732-47F7-A136-40AF775938B3}" dt="2022-11-14T10:34:34.613" v="802" actId="20577"/>
          <ac:spMkLst>
            <pc:docMk/>
            <pc:sldMk cId="3587085522" sldId="929"/>
            <ac:spMk id="5" creationId="{00000000-0000-0000-0000-000000000000}"/>
          </ac:spMkLst>
        </pc:spChg>
      </pc:sldChg>
      <pc:sldChg chg="del">
        <pc:chgData name="Tony M P" userId="ae1e3ab533ed63fd" providerId="LiveId" clId="{713F5F7A-E732-47F7-A136-40AF775938B3}" dt="2022-11-14T10:29:08.655" v="797" actId="47"/>
        <pc:sldMkLst>
          <pc:docMk/>
          <pc:sldMk cId="2641632611" sldId="930"/>
        </pc:sldMkLst>
      </pc:sldChg>
      <pc:sldChg chg="modSp mod">
        <pc:chgData name="Tony M P" userId="ae1e3ab533ed63fd" providerId="LiveId" clId="{713F5F7A-E732-47F7-A136-40AF775938B3}" dt="2022-11-14T00:34:14.907" v="280" actId="20577"/>
        <pc:sldMkLst>
          <pc:docMk/>
          <pc:sldMk cId="1389915393" sldId="931"/>
        </pc:sldMkLst>
        <pc:spChg chg="mod">
          <ac:chgData name="Tony M P" userId="ae1e3ab533ed63fd" providerId="LiveId" clId="{713F5F7A-E732-47F7-A136-40AF775938B3}" dt="2022-11-14T00:31:07.326" v="234" actId="20577"/>
          <ac:spMkLst>
            <pc:docMk/>
            <pc:sldMk cId="1389915393" sldId="931"/>
            <ac:spMk id="5" creationId="{F1397693-A66A-4AAE-97C3-03088A332AB1}"/>
          </ac:spMkLst>
        </pc:spChg>
        <pc:spChg chg="mod">
          <ac:chgData name="Tony M P" userId="ae1e3ab533ed63fd" providerId="LiveId" clId="{713F5F7A-E732-47F7-A136-40AF775938B3}" dt="2022-11-14T00:31:27.806" v="244" actId="20577"/>
          <ac:spMkLst>
            <pc:docMk/>
            <pc:sldMk cId="1389915393" sldId="931"/>
            <ac:spMk id="17" creationId="{E447DFAA-1FD4-4D64-8E89-32217B21CF89}"/>
          </ac:spMkLst>
        </pc:spChg>
        <pc:spChg chg="mod">
          <ac:chgData name="Tony M P" userId="ae1e3ab533ed63fd" providerId="LiveId" clId="{713F5F7A-E732-47F7-A136-40AF775938B3}" dt="2022-11-14T00:32:53.083" v="260" actId="6549"/>
          <ac:spMkLst>
            <pc:docMk/>
            <pc:sldMk cId="1389915393" sldId="931"/>
            <ac:spMk id="19" creationId="{4DC37C40-0C75-48A7-95C9-6461E151A73E}"/>
          </ac:spMkLst>
        </pc:spChg>
        <pc:spChg chg="mod">
          <ac:chgData name="Tony M P" userId="ae1e3ab533ed63fd" providerId="LiveId" clId="{713F5F7A-E732-47F7-A136-40AF775938B3}" dt="2022-11-14T00:32:34.400" v="252" actId="6549"/>
          <ac:spMkLst>
            <pc:docMk/>
            <pc:sldMk cId="1389915393" sldId="931"/>
            <ac:spMk id="20" creationId="{9A7131ED-8A5D-4ED5-A310-E78554CE39C1}"/>
          </ac:spMkLst>
        </pc:spChg>
        <pc:spChg chg="mod">
          <ac:chgData name="Tony M P" userId="ae1e3ab533ed63fd" providerId="LiveId" clId="{713F5F7A-E732-47F7-A136-40AF775938B3}" dt="2022-11-14T00:34:14.907" v="280" actId="20577"/>
          <ac:spMkLst>
            <pc:docMk/>
            <pc:sldMk cId="1389915393" sldId="931"/>
            <ac:spMk id="70" creationId="{048868CC-B509-4A29-B9D3-6147B8667C8F}"/>
          </ac:spMkLst>
        </pc:spChg>
        <pc:spChg chg="mod">
          <ac:chgData name="Tony M P" userId="ae1e3ab533ed63fd" providerId="LiveId" clId="{713F5F7A-E732-47F7-A136-40AF775938B3}" dt="2022-11-14T00:34:10.252" v="278" actId="20577"/>
          <ac:spMkLst>
            <pc:docMk/>
            <pc:sldMk cId="1389915393" sldId="931"/>
            <ac:spMk id="71" creationId="{3690AFFD-4E3A-4C68-B8F6-F176BC1EFDD4}"/>
          </ac:spMkLst>
        </pc:spChg>
      </pc:sldChg>
      <pc:sldChg chg="del">
        <pc:chgData name="Tony M P" userId="ae1e3ab533ed63fd" providerId="LiveId" clId="{713F5F7A-E732-47F7-A136-40AF775938B3}" dt="2022-11-15T14:21:16.554" v="886" actId="47"/>
        <pc:sldMkLst>
          <pc:docMk/>
          <pc:sldMk cId="771016133" sldId="93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723619804" sldId="937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481034281" sldId="938"/>
        </pc:sldMkLst>
      </pc:sldChg>
      <pc:sldChg chg="del">
        <pc:chgData name="Tony M P" userId="ae1e3ab533ed63fd" providerId="LiveId" clId="{713F5F7A-E732-47F7-A136-40AF775938B3}" dt="2022-11-15T14:21:15.444" v="885" actId="47"/>
        <pc:sldMkLst>
          <pc:docMk/>
          <pc:sldMk cId="3853434146" sldId="938"/>
        </pc:sldMkLst>
      </pc:sldChg>
      <pc:sldChg chg="modSp mod">
        <pc:chgData name="Tony M P" userId="ae1e3ab533ed63fd" providerId="LiveId" clId="{713F5F7A-E732-47F7-A136-40AF775938B3}" dt="2022-11-14T13:05:48.545" v="855" actId="14100"/>
        <pc:sldMkLst>
          <pc:docMk/>
          <pc:sldMk cId="409676482" sldId="941"/>
        </pc:sldMkLst>
        <pc:picChg chg="mod">
          <ac:chgData name="Tony M P" userId="ae1e3ab533ed63fd" providerId="LiveId" clId="{713F5F7A-E732-47F7-A136-40AF775938B3}" dt="2022-11-14T13:05:48.545" v="855" actId="14100"/>
          <ac:picMkLst>
            <pc:docMk/>
            <pc:sldMk cId="409676482" sldId="941"/>
            <ac:picMk id="6" creationId="{2A9B304C-7A72-483A-9800-6A4176E99AEC}"/>
          </ac:picMkLst>
        </pc:picChg>
      </pc:sldChg>
      <pc:sldChg chg="del">
        <pc:chgData name="Tony M P" userId="ae1e3ab533ed63fd" providerId="LiveId" clId="{713F5F7A-E732-47F7-A136-40AF775938B3}" dt="2022-11-15T14:21:17.678" v="888" actId="47"/>
        <pc:sldMkLst>
          <pc:docMk/>
          <pc:sldMk cId="493238899" sldId="942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1814699410" sldId="942"/>
        </pc:sldMkLst>
      </pc:sldChg>
      <pc:sldChg chg="del">
        <pc:chgData name="Tony M P" userId="ae1e3ab533ed63fd" providerId="LiveId" clId="{713F5F7A-E732-47F7-A136-40AF775938B3}" dt="2022-11-15T14:21:17.053" v="887" actId="47"/>
        <pc:sldMkLst>
          <pc:docMk/>
          <pc:sldMk cId="164504301" sldId="943"/>
        </pc:sldMkLst>
      </pc:sldChg>
      <pc:sldChg chg="del">
        <pc:chgData name="Tony M P" userId="ae1e3ab533ed63fd" providerId="LiveId" clId="{713F5F7A-E732-47F7-A136-40AF775938B3}" dt="2022-11-14T13:08:42.090" v="856" actId="2696"/>
        <pc:sldMkLst>
          <pc:docMk/>
          <pc:sldMk cId="3607061137" sldId="943"/>
        </pc:sldMkLst>
      </pc:sldChg>
      <pc:sldChg chg="del">
        <pc:chgData name="Tony M P" userId="ae1e3ab533ed63fd" providerId="LiveId" clId="{713F5F7A-E732-47F7-A136-40AF775938B3}" dt="2022-11-15T14:21:10.664" v="875" actId="47"/>
        <pc:sldMkLst>
          <pc:docMk/>
          <pc:sldMk cId="1947260210" sldId="944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3267021721" sldId="944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1235539921" sldId="945"/>
        </pc:sldMkLst>
      </pc:sldChg>
      <pc:sldChg chg="del">
        <pc:chgData name="Tony M P" userId="ae1e3ab533ed63fd" providerId="LiveId" clId="{713F5F7A-E732-47F7-A136-40AF775938B3}" dt="2022-11-15T14:21:11.008" v="876" actId="47"/>
        <pc:sldMkLst>
          <pc:docMk/>
          <pc:sldMk cId="3478466505" sldId="945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605392369" sldId="946"/>
        </pc:sldMkLst>
      </pc:sldChg>
      <pc:sldChg chg="del">
        <pc:chgData name="Tony M P" userId="ae1e3ab533ed63fd" providerId="LiveId" clId="{713F5F7A-E732-47F7-A136-40AF775938B3}" dt="2022-11-15T14:21:10.289" v="874" actId="47"/>
        <pc:sldMkLst>
          <pc:docMk/>
          <pc:sldMk cId="3841659851" sldId="946"/>
        </pc:sldMkLst>
      </pc:sldChg>
      <pc:sldChg chg="del">
        <pc:chgData name="Tony M P" userId="ae1e3ab533ed63fd" providerId="LiveId" clId="{713F5F7A-E732-47F7-A136-40AF775938B3}" dt="2022-11-15T14:21:07.509" v="865" actId="47"/>
        <pc:sldMkLst>
          <pc:docMk/>
          <pc:sldMk cId="1238372121" sldId="949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2526113388" sldId="949"/>
        </pc:sldMkLst>
      </pc:sldChg>
      <pc:sldChg chg="del">
        <pc:chgData name="Tony M P" userId="ae1e3ab533ed63fd" providerId="LiveId" clId="{713F5F7A-E732-47F7-A136-40AF775938B3}" dt="2022-11-14T01:56:35.963" v="313" actId="47"/>
        <pc:sldMkLst>
          <pc:docMk/>
          <pc:sldMk cId="3365896615" sldId="952"/>
        </pc:sldMkLst>
      </pc:sldChg>
      <pc:sldChg chg="modSp mod">
        <pc:chgData name="Tony M P" userId="ae1e3ab533ed63fd" providerId="LiveId" clId="{713F5F7A-E732-47F7-A136-40AF775938B3}" dt="2022-11-14T00:30:29.329" v="224" actId="20577"/>
        <pc:sldMkLst>
          <pc:docMk/>
          <pc:sldMk cId="573867559" sldId="956"/>
        </pc:sldMkLst>
        <pc:spChg chg="mod">
          <ac:chgData name="Tony M P" userId="ae1e3ab533ed63fd" providerId="LiveId" clId="{713F5F7A-E732-47F7-A136-40AF775938B3}" dt="2022-11-14T00:30:09.678" v="208" actId="20577"/>
          <ac:spMkLst>
            <pc:docMk/>
            <pc:sldMk cId="573867559" sldId="956"/>
            <ac:spMk id="2" creationId="{D3CBAFAA-19AE-475C-88FC-6AE249BC25A9}"/>
          </ac:spMkLst>
        </pc:spChg>
        <pc:spChg chg="mod">
          <ac:chgData name="Tony M P" userId="ae1e3ab533ed63fd" providerId="LiveId" clId="{713F5F7A-E732-47F7-A136-40AF775938B3}" dt="2022-11-14T00:30:19.144" v="216" actId="20577"/>
          <ac:spMkLst>
            <pc:docMk/>
            <pc:sldMk cId="573867559" sldId="956"/>
            <ac:spMk id="6" creationId="{4E07AEC5-0055-400C-9AE9-FCDD7DDD7E41}"/>
          </ac:spMkLst>
        </pc:spChg>
        <pc:spChg chg="mod">
          <ac:chgData name="Tony M P" userId="ae1e3ab533ed63fd" providerId="LiveId" clId="{713F5F7A-E732-47F7-A136-40AF775938B3}" dt="2022-11-14T00:30:29.329" v="224" actId="20577"/>
          <ac:spMkLst>
            <pc:docMk/>
            <pc:sldMk cId="573867559" sldId="956"/>
            <ac:spMk id="7" creationId="{227F552B-DC41-445A-AFA0-8C388C4109FE}"/>
          </ac:spMkLst>
        </pc:spChg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1366242996" sldId="958"/>
        </pc:sldMkLst>
      </pc:sldChg>
      <pc:sldChg chg="del">
        <pc:chgData name="Tony M P" userId="ae1e3ab533ed63fd" providerId="LiveId" clId="{713F5F7A-E732-47F7-A136-40AF775938B3}" dt="2022-11-15T14:21:12.039" v="878" actId="47"/>
        <pc:sldMkLst>
          <pc:docMk/>
          <pc:sldMk cId="2143650261" sldId="958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907661364" sldId="959"/>
        </pc:sldMkLst>
      </pc:sldChg>
      <pc:sldChg chg="del">
        <pc:chgData name="Tony M P" userId="ae1e3ab533ed63fd" providerId="LiveId" clId="{713F5F7A-E732-47F7-A136-40AF775938B3}" dt="2022-11-15T14:21:09.071" v="870" actId="47"/>
        <pc:sldMkLst>
          <pc:docMk/>
          <pc:sldMk cId="3800826462" sldId="959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257263538" sldId="960"/>
        </pc:sldMkLst>
      </pc:sldChg>
      <pc:sldChg chg="del">
        <pc:chgData name="Tony M P" userId="ae1e3ab533ed63fd" providerId="LiveId" clId="{713F5F7A-E732-47F7-A136-40AF775938B3}" dt="2022-11-15T14:21:09.571" v="871" actId="47"/>
        <pc:sldMkLst>
          <pc:docMk/>
          <pc:sldMk cId="523810324" sldId="960"/>
        </pc:sldMkLst>
      </pc:sldChg>
      <pc:sldChg chg="del">
        <pc:chgData name="Tony M P" userId="ae1e3ab533ed63fd" providerId="LiveId" clId="{713F5F7A-E732-47F7-A136-40AF775938B3}" dt="2022-11-15T14:21:09.852" v="872" actId="47"/>
        <pc:sldMkLst>
          <pc:docMk/>
          <pc:sldMk cId="1404435687" sldId="961"/>
        </pc:sldMkLst>
      </pc:sldChg>
      <pc:sldChg chg="del">
        <pc:chgData name="Tony M P" userId="ae1e3ab533ed63fd" providerId="LiveId" clId="{713F5F7A-E732-47F7-A136-40AF775938B3}" dt="2022-11-14T10:30:37.412" v="798" actId="2696"/>
        <pc:sldMkLst>
          <pc:docMk/>
          <pc:sldMk cId="2868029635" sldId="961"/>
        </pc:sldMkLst>
      </pc:sldChg>
      <pc:sldChg chg="modSp mod">
        <pc:chgData name="Tony M P" userId="ae1e3ab533ed63fd" providerId="LiveId" clId="{713F5F7A-E732-47F7-A136-40AF775938B3}" dt="2022-11-14T12:41:10.375" v="832" actId="6549"/>
        <pc:sldMkLst>
          <pc:docMk/>
          <pc:sldMk cId="1719205100" sldId="1030"/>
        </pc:sldMkLst>
        <pc:spChg chg="mod">
          <ac:chgData name="Tony M P" userId="ae1e3ab533ed63fd" providerId="LiveId" clId="{713F5F7A-E732-47F7-A136-40AF775938B3}" dt="2022-11-12T13:09:08.598" v="2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713F5F7A-E732-47F7-A136-40AF775938B3}" dt="2022-11-14T12:41:10.375" v="832" actId="6549"/>
          <ac:spMkLst>
            <pc:docMk/>
            <pc:sldMk cId="1719205100" sldId="1030"/>
            <ac:spMk id="5" creationId="{00000000-0000-0000-0000-000000000000}"/>
          </ac:spMkLst>
        </pc:spChg>
      </pc:sldChg>
      <pc:sldChg chg="add del">
        <pc:chgData name="Tony M P" userId="ae1e3ab533ed63fd" providerId="LiveId" clId="{713F5F7A-E732-47F7-A136-40AF775938B3}" dt="2022-11-15T14:21:04.338" v="859" actId="47"/>
        <pc:sldMkLst>
          <pc:docMk/>
          <pc:sldMk cId="1383853051" sldId="1052"/>
        </pc:sldMkLst>
      </pc:sldChg>
      <pc:sldChg chg="del">
        <pc:chgData name="Tony M P" userId="ae1e3ab533ed63fd" providerId="LiveId" clId="{713F5F7A-E732-47F7-A136-40AF775938B3}" dt="2022-11-12T13:11:05.795" v="112" actId="47"/>
        <pc:sldMkLst>
          <pc:docMk/>
          <pc:sldMk cId="405079545" sldId="1103"/>
        </pc:sldMkLst>
      </pc:sldChg>
      <pc:sldChg chg="del">
        <pc:chgData name="Tony M P" userId="ae1e3ab533ed63fd" providerId="LiveId" clId="{713F5F7A-E732-47F7-A136-40AF775938B3}" dt="2022-11-12T13:11:07.451" v="117" actId="47"/>
        <pc:sldMkLst>
          <pc:docMk/>
          <pc:sldMk cId="183843896" sldId="1107"/>
        </pc:sldMkLst>
      </pc:sldChg>
      <pc:sldChg chg="del">
        <pc:chgData name="Tony M P" userId="ae1e3ab533ed63fd" providerId="LiveId" clId="{713F5F7A-E732-47F7-A136-40AF775938B3}" dt="2022-11-12T13:11:07.201" v="116" actId="47"/>
        <pc:sldMkLst>
          <pc:docMk/>
          <pc:sldMk cId="1480759013" sldId="1108"/>
        </pc:sldMkLst>
      </pc:sldChg>
      <pc:sldChg chg="modSp add del mod">
        <pc:chgData name="Tony M P" userId="ae1e3ab533ed63fd" providerId="LiveId" clId="{713F5F7A-E732-47F7-A136-40AF775938B3}" dt="2022-11-14T12:41:22.200" v="836" actId="6549"/>
        <pc:sldMkLst>
          <pc:docMk/>
          <pc:sldMk cId="1823133845" sldId="1109"/>
        </pc:sldMkLst>
        <pc:spChg chg="mod">
          <ac:chgData name="Tony M P" userId="ae1e3ab533ed63fd" providerId="LiveId" clId="{713F5F7A-E732-47F7-A136-40AF775938B3}" dt="2022-11-14T12:41:22.200" v="836" actId="6549"/>
          <ac:spMkLst>
            <pc:docMk/>
            <pc:sldMk cId="1823133845" sldId="1109"/>
            <ac:spMk id="3" creationId="{00000000-0000-0000-0000-000000000000}"/>
          </ac:spMkLst>
        </pc:spChg>
      </pc:sldChg>
      <pc:sldChg chg="del">
        <pc:chgData name="Tony M P" userId="ae1e3ab533ed63fd" providerId="LiveId" clId="{713F5F7A-E732-47F7-A136-40AF775938B3}" dt="2022-11-12T13:11:06.919" v="115" actId="47"/>
        <pc:sldMkLst>
          <pc:docMk/>
          <pc:sldMk cId="1781466173" sldId="1112"/>
        </pc:sldMkLst>
      </pc:sldChg>
      <pc:sldChg chg="del">
        <pc:chgData name="Tony M P" userId="ae1e3ab533ed63fd" providerId="LiveId" clId="{713F5F7A-E732-47F7-A136-40AF775938B3}" dt="2022-11-12T13:11:06.451" v="113" actId="47"/>
        <pc:sldMkLst>
          <pc:docMk/>
          <pc:sldMk cId="3511928484" sldId="1127"/>
        </pc:sldMkLst>
      </pc:sldChg>
      <pc:sldChg chg="del">
        <pc:chgData name="Tony M P" userId="ae1e3ab533ed63fd" providerId="LiveId" clId="{713F5F7A-E732-47F7-A136-40AF775938B3}" dt="2022-11-12T13:11:06.685" v="114" actId="47"/>
        <pc:sldMkLst>
          <pc:docMk/>
          <pc:sldMk cId="3167598584" sldId="1128"/>
        </pc:sldMkLst>
      </pc:sldChg>
      <pc:sldChg chg="del">
        <pc:chgData name="Tony M P" userId="ae1e3ab533ed63fd" providerId="LiveId" clId="{713F5F7A-E732-47F7-A136-40AF775938B3}" dt="2022-11-12T13:11:11.043" v="134" actId="47"/>
        <pc:sldMkLst>
          <pc:docMk/>
          <pc:sldMk cId="516589543" sldId="1129"/>
        </pc:sldMkLst>
      </pc:sldChg>
      <pc:sldChg chg="del">
        <pc:chgData name="Tony M P" userId="ae1e3ab533ed63fd" providerId="LiveId" clId="{713F5F7A-E732-47F7-A136-40AF775938B3}" dt="2022-11-12T13:11:13.637" v="146" actId="47"/>
        <pc:sldMkLst>
          <pc:docMk/>
          <pc:sldMk cId="1708362797" sldId="1131"/>
        </pc:sldMkLst>
      </pc:sldChg>
      <pc:sldChg chg="del">
        <pc:chgData name="Tony M P" userId="ae1e3ab533ed63fd" providerId="LiveId" clId="{713F5F7A-E732-47F7-A136-40AF775938B3}" dt="2022-11-12T13:11:13.433" v="145" actId="47"/>
        <pc:sldMkLst>
          <pc:docMk/>
          <pc:sldMk cId="1672844672" sldId="1132"/>
        </pc:sldMkLst>
      </pc:sldChg>
      <pc:sldChg chg="del">
        <pc:chgData name="Tony M P" userId="ae1e3ab533ed63fd" providerId="LiveId" clId="{713F5F7A-E732-47F7-A136-40AF775938B3}" dt="2022-11-12T13:11:13.230" v="144" actId="47"/>
        <pc:sldMkLst>
          <pc:docMk/>
          <pc:sldMk cId="1615114192" sldId="1133"/>
        </pc:sldMkLst>
      </pc:sldChg>
      <pc:sldChg chg="del">
        <pc:chgData name="Tony M P" userId="ae1e3ab533ed63fd" providerId="LiveId" clId="{713F5F7A-E732-47F7-A136-40AF775938B3}" dt="2022-11-12T13:11:13.027" v="143" actId="47"/>
        <pc:sldMkLst>
          <pc:docMk/>
          <pc:sldMk cId="3094632175" sldId="1134"/>
        </pc:sldMkLst>
      </pc:sldChg>
      <pc:sldChg chg="del">
        <pc:chgData name="Tony M P" userId="ae1e3ab533ed63fd" providerId="LiveId" clId="{713F5F7A-E732-47F7-A136-40AF775938B3}" dt="2022-11-12T13:11:12.824" v="142" actId="47"/>
        <pc:sldMkLst>
          <pc:docMk/>
          <pc:sldMk cId="1797154468" sldId="1135"/>
        </pc:sldMkLst>
      </pc:sldChg>
      <pc:sldChg chg="del">
        <pc:chgData name="Tony M P" userId="ae1e3ab533ed63fd" providerId="LiveId" clId="{713F5F7A-E732-47F7-A136-40AF775938B3}" dt="2022-11-12T13:11:12.621" v="141" actId="47"/>
        <pc:sldMkLst>
          <pc:docMk/>
          <pc:sldMk cId="439836032" sldId="1136"/>
        </pc:sldMkLst>
      </pc:sldChg>
      <pc:sldChg chg="del">
        <pc:chgData name="Tony M P" userId="ae1e3ab533ed63fd" providerId="LiveId" clId="{713F5F7A-E732-47F7-A136-40AF775938B3}" dt="2022-11-12T13:11:12.043" v="138" actId="47"/>
        <pc:sldMkLst>
          <pc:docMk/>
          <pc:sldMk cId="700466715" sldId="1137"/>
        </pc:sldMkLst>
      </pc:sldChg>
      <pc:sldChg chg="del">
        <pc:chgData name="Tony M P" userId="ae1e3ab533ed63fd" providerId="LiveId" clId="{713F5F7A-E732-47F7-A136-40AF775938B3}" dt="2022-11-12T13:11:11.840" v="137" actId="47"/>
        <pc:sldMkLst>
          <pc:docMk/>
          <pc:sldMk cId="3844539295" sldId="1138"/>
        </pc:sldMkLst>
      </pc:sldChg>
      <pc:sldChg chg="del">
        <pc:chgData name="Tony M P" userId="ae1e3ab533ed63fd" providerId="LiveId" clId="{713F5F7A-E732-47F7-A136-40AF775938B3}" dt="2022-11-12T13:11:11.606" v="136" actId="47"/>
        <pc:sldMkLst>
          <pc:docMk/>
          <pc:sldMk cId="3170737812" sldId="1139"/>
        </pc:sldMkLst>
      </pc:sldChg>
      <pc:sldChg chg="del">
        <pc:chgData name="Tony M P" userId="ae1e3ab533ed63fd" providerId="LiveId" clId="{713F5F7A-E732-47F7-A136-40AF775938B3}" dt="2022-11-12T13:11:11.262" v="135" actId="47"/>
        <pc:sldMkLst>
          <pc:docMk/>
          <pc:sldMk cId="3631831022" sldId="1140"/>
        </pc:sldMkLst>
      </pc:sldChg>
      <pc:sldChg chg="del">
        <pc:chgData name="Tony M P" userId="ae1e3ab533ed63fd" providerId="LiveId" clId="{713F5F7A-E732-47F7-A136-40AF775938B3}" dt="2022-11-12T13:11:18.776" v="170" actId="47"/>
        <pc:sldMkLst>
          <pc:docMk/>
          <pc:sldMk cId="340068696" sldId="1143"/>
        </pc:sldMkLst>
      </pc:sldChg>
      <pc:sldChg chg="del">
        <pc:chgData name="Tony M P" userId="ae1e3ab533ed63fd" providerId="LiveId" clId="{713F5F7A-E732-47F7-A136-40AF775938B3}" dt="2022-11-12T13:11:14.668" v="150" actId="47"/>
        <pc:sldMkLst>
          <pc:docMk/>
          <pc:sldMk cId="742953335" sldId="1144"/>
        </pc:sldMkLst>
      </pc:sldChg>
      <pc:sldChg chg="del">
        <pc:chgData name="Tony M P" userId="ae1e3ab533ed63fd" providerId="LiveId" clId="{713F5F7A-E732-47F7-A136-40AF775938B3}" dt="2022-11-12T13:11:14.386" v="149" actId="47"/>
        <pc:sldMkLst>
          <pc:docMk/>
          <pc:sldMk cId="3533102411" sldId="1145"/>
        </pc:sldMkLst>
      </pc:sldChg>
      <pc:sldChg chg="del">
        <pc:chgData name="Tony M P" userId="ae1e3ab533ed63fd" providerId="LiveId" clId="{713F5F7A-E732-47F7-A136-40AF775938B3}" dt="2022-11-12T13:11:14.121" v="148" actId="47"/>
        <pc:sldMkLst>
          <pc:docMk/>
          <pc:sldMk cId="344801269" sldId="1146"/>
        </pc:sldMkLst>
      </pc:sldChg>
      <pc:sldChg chg="del">
        <pc:chgData name="Tony M P" userId="ae1e3ab533ed63fd" providerId="LiveId" clId="{713F5F7A-E732-47F7-A136-40AF775938B3}" dt="2022-11-12T13:11:13.887" v="147" actId="47"/>
        <pc:sldMkLst>
          <pc:docMk/>
          <pc:sldMk cId="1233917488" sldId="1147"/>
        </pc:sldMkLst>
      </pc:sldChg>
      <pc:sldChg chg="del">
        <pc:chgData name="Tony M P" userId="ae1e3ab533ed63fd" providerId="LiveId" clId="{713F5F7A-E732-47F7-A136-40AF775938B3}" dt="2022-11-12T13:11:14.699" v="151" actId="47"/>
        <pc:sldMkLst>
          <pc:docMk/>
          <pc:sldMk cId="701063832" sldId="1148"/>
        </pc:sldMkLst>
      </pc:sldChg>
      <pc:sldChg chg="del">
        <pc:chgData name="Tony M P" userId="ae1e3ab533ed63fd" providerId="LiveId" clId="{713F5F7A-E732-47F7-A136-40AF775938B3}" dt="2022-11-12T13:11:18.526" v="169" actId="47"/>
        <pc:sldMkLst>
          <pc:docMk/>
          <pc:sldMk cId="2249596709" sldId="1149"/>
        </pc:sldMkLst>
      </pc:sldChg>
      <pc:sldChg chg="del">
        <pc:chgData name="Tony M P" userId="ae1e3ab533ed63fd" providerId="LiveId" clId="{713F5F7A-E732-47F7-A136-40AF775938B3}" dt="2022-11-12T13:11:14.964" v="152" actId="47"/>
        <pc:sldMkLst>
          <pc:docMk/>
          <pc:sldMk cId="598364043" sldId="1150"/>
        </pc:sldMkLst>
      </pc:sldChg>
      <pc:sldChg chg="del">
        <pc:chgData name="Tony M P" userId="ae1e3ab533ed63fd" providerId="LiveId" clId="{713F5F7A-E732-47F7-A136-40AF775938B3}" dt="2022-11-12T13:11:18.026" v="167" actId="47"/>
        <pc:sldMkLst>
          <pc:docMk/>
          <pc:sldMk cId="2224326180" sldId="1151"/>
        </pc:sldMkLst>
      </pc:sldChg>
      <pc:sldChg chg="del">
        <pc:chgData name="Tony M P" userId="ae1e3ab533ed63fd" providerId="LiveId" clId="{713F5F7A-E732-47F7-A136-40AF775938B3}" dt="2022-11-12T13:11:17.558" v="165" actId="47"/>
        <pc:sldMkLst>
          <pc:docMk/>
          <pc:sldMk cId="2105721736" sldId="1152"/>
        </pc:sldMkLst>
      </pc:sldChg>
      <pc:sldChg chg="del">
        <pc:chgData name="Tony M P" userId="ae1e3ab533ed63fd" providerId="LiveId" clId="{713F5F7A-E732-47F7-A136-40AF775938B3}" dt="2022-11-12T13:11:17.308" v="164" actId="47"/>
        <pc:sldMkLst>
          <pc:docMk/>
          <pc:sldMk cId="3981544017" sldId="1153"/>
        </pc:sldMkLst>
      </pc:sldChg>
      <pc:sldChg chg="del">
        <pc:chgData name="Tony M P" userId="ae1e3ab533ed63fd" providerId="LiveId" clId="{713F5F7A-E732-47F7-A136-40AF775938B3}" dt="2022-11-12T13:11:17.026" v="162" actId="47"/>
        <pc:sldMkLst>
          <pc:docMk/>
          <pc:sldMk cId="1766948347" sldId="1154"/>
        </pc:sldMkLst>
      </pc:sldChg>
      <pc:sldChg chg="del">
        <pc:chgData name="Tony M P" userId="ae1e3ab533ed63fd" providerId="LiveId" clId="{713F5F7A-E732-47F7-A136-40AF775938B3}" dt="2022-11-12T13:11:16.839" v="161" actId="47"/>
        <pc:sldMkLst>
          <pc:docMk/>
          <pc:sldMk cId="1075361552" sldId="1155"/>
        </pc:sldMkLst>
      </pc:sldChg>
      <pc:sldChg chg="del">
        <pc:chgData name="Tony M P" userId="ae1e3ab533ed63fd" providerId="LiveId" clId="{713F5F7A-E732-47F7-A136-40AF775938B3}" dt="2022-11-12T13:11:16.355" v="159" actId="47"/>
        <pc:sldMkLst>
          <pc:docMk/>
          <pc:sldMk cId="247363007" sldId="1156"/>
        </pc:sldMkLst>
      </pc:sldChg>
      <pc:sldChg chg="del">
        <pc:chgData name="Tony M P" userId="ae1e3ab533ed63fd" providerId="LiveId" clId="{713F5F7A-E732-47F7-A136-40AF775938B3}" dt="2022-11-12T13:11:16.058" v="157" actId="47"/>
        <pc:sldMkLst>
          <pc:docMk/>
          <pc:sldMk cId="1227364399" sldId="1157"/>
        </pc:sldMkLst>
      </pc:sldChg>
      <pc:sldChg chg="del">
        <pc:chgData name="Tony M P" userId="ae1e3ab533ed63fd" providerId="LiveId" clId="{713F5F7A-E732-47F7-A136-40AF775938B3}" dt="2022-11-12T13:11:15.792" v="156" actId="47"/>
        <pc:sldMkLst>
          <pc:docMk/>
          <pc:sldMk cId="2851297256" sldId="1158"/>
        </pc:sldMkLst>
      </pc:sldChg>
      <pc:sldChg chg="del">
        <pc:chgData name="Tony M P" userId="ae1e3ab533ed63fd" providerId="LiveId" clId="{713F5F7A-E732-47F7-A136-40AF775938B3}" dt="2022-11-12T13:11:15.527" v="155" actId="47"/>
        <pc:sldMkLst>
          <pc:docMk/>
          <pc:sldMk cId="714823444" sldId="1159"/>
        </pc:sldMkLst>
      </pc:sldChg>
      <pc:sldChg chg="del">
        <pc:chgData name="Tony M P" userId="ae1e3ab533ed63fd" providerId="LiveId" clId="{713F5F7A-E732-47F7-A136-40AF775938B3}" dt="2022-11-12T13:11:16.339" v="158" actId="47"/>
        <pc:sldMkLst>
          <pc:docMk/>
          <pc:sldMk cId="675557829" sldId="1160"/>
        </pc:sldMkLst>
      </pc:sldChg>
      <pc:sldChg chg="del">
        <pc:chgData name="Tony M P" userId="ae1e3ab533ed63fd" providerId="LiveId" clId="{713F5F7A-E732-47F7-A136-40AF775938B3}" dt="2022-11-12T13:11:16.636" v="160" actId="47"/>
        <pc:sldMkLst>
          <pc:docMk/>
          <pc:sldMk cId="3570255924" sldId="1161"/>
        </pc:sldMkLst>
      </pc:sldChg>
      <pc:sldChg chg="del">
        <pc:chgData name="Tony M P" userId="ae1e3ab533ed63fd" providerId="LiveId" clId="{713F5F7A-E732-47F7-A136-40AF775938B3}" dt="2022-11-12T13:11:17.276" v="163" actId="47"/>
        <pc:sldMkLst>
          <pc:docMk/>
          <pc:sldMk cId="2024951341" sldId="1162"/>
        </pc:sldMkLst>
      </pc:sldChg>
      <pc:sldChg chg="del">
        <pc:chgData name="Tony M P" userId="ae1e3ab533ed63fd" providerId="LiveId" clId="{713F5F7A-E732-47F7-A136-40AF775938B3}" dt="2022-11-12T13:11:17.792" v="166" actId="47"/>
        <pc:sldMkLst>
          <pc:docMk/>
          <pc:sldMk cId="665487627" sldId="1163"/>
        </pc:sldMkLst>
      </pc:sldChg>
      <pc:sldChg chg="del">
        <pc:chgData name="Tony M P" userId="ae1e3ab533ed63fd" providerId="LiveId" clId="{713F5F7A-E732-47F7-A136-40AF775938B3}" dt="2022-11-12T13:11:18.292" v="168" actId="47"/>
        <pc:sldMkLst>
          <pc:docMk/>
          <pc:sldMk cId="2848497782" sldId="1164"/>
        </pc:sldMkLst>
      </pc:sldChg>
      <pc:sldChg chg="delSp add del mod">
        <pc:chgData name="Tony M P" userId="ae1e3ab533ed63fd" providerId="LiveId" clId="{713F5F7A-E732-47F7-A136-40AF775938B3}" dt="2022-11-15T14:21:03.479" v="858" actId="47"/>
        <pc:sldMkLst>
          <pc:docMk/>
          <pc:sldMk cId="1348038761" sldId="1168"/>
        </pc:sldMkLst>
        <pc:picChg chg="del">
          <ac:chgData name="Tony M P" userId="ae1e3ab533ed63fd" providerId="LiveId" clId="{713F5F7A-E732-47F7-A136-40AF775938B3}" dt="2022-11-12T13:11:30.492" v="179" actId="478"/>
          <ac:picMkLst>
            <pc:docMk/>
            <pc:sldMk cId="1348038761" sldId="1168"/>
            <ac:picMk id="5" creationId="{769699DD-EBFA-424C-5BF1-D281434783AE}"/>
          </ac:picMkLst>
        </pc:picChg>
      </pc:sldChg>
      <pc:sldChg chg="del">
        <pc:chgData name="Tony M P" userId="ae1e3ab533ed63fd" providerId="LiveId" clId="{713F5F7A-E732-47F7-A136-40AF775938B3}" dt="2022-11-12T13:11:15.496" v="154" actId="47"/>
        <pc:sldMkLst>
          <pc:docMk/>
          <pc:sldMk cId="1289623707" sldId="1169"/>
        </pc:sldMkLst>
      </pc:sldChg>
      <pc:sldChg chg="modSp del mod">
        <pc:chgData name="Tony M P" userId="ae1e3ab533ed63fd" providerId="LiveId" clId="{713F5F7A-E732-47F7-A136-40AF775938B3}" dt="2022-11-14T00:40:04.898" v="303" actId="47"/>
        <pc:sldMkLst>
          <pc:docMk/>
          <pc:sldMk cId="2744095236" sldId="1169"/>
        </pc:sldMkLst>
        <pc:spChg chg="mod">
          <ac:chgData name="Tony M P" userId="ae1e3ab533ed63fd" providerId="LiveId" clId="{713F5F7A-E732-47F7-A136-40AF775938B3}" dt="2022-11-14T00:27:29.054" v="196" actId="207"/>
          <ac:spMkLst>
            <pc:docMk/>
            <pc:sldMk cId="2744095236" sldId="1169"/>
            <ac:spMk id="3" creationId="{00000000-0000-0000-0000-000000000000}"/>
          </ac:spMkLst>
        </pc:spChg>
      </pc:sldChg>
      <pc:sldChg chg="del">
        <pc:chgData name="Tony M P" userId="ae1e3ab533ed63fd" providerId="LiveId" clId="{713F5F7A-E732-47F7-A136-40AF775938B3}" dt="2022-11-12T13:11:15.230" v="153" actId="47"/>
        <pc:sldMkLst>
          <pc:docMk/>
          <pc:sldMk cId="2044341696" sldId="1170"/>
        </pc:sldMkLst>
      </pc:sldChg>
      <pc:sldChg chg="modSp del mod">
        <pc:chgData name="Tony M P" userId="ae1e3ab533ed63fd" providerId="LiveId" clId="{713F5F7A-E732-47F7-A136-40AF775938B3}" dt="2022-11-14T13:09:33.225" v="857" actId="2696"/>
        <pc:sldMkLst>
          <pc:docMk/>
          <pc:sldMk cId="3020995615" sldId="1170"/>
        </pc:sldMkLst>
        <pc:spChg chg="mod">
          <ac:chgData name="Tony M P" userId="ae1e3ab533ed63fd" providerId="LiveId" clId="{713F5F7A-E732-47F7-A136-40AF775938B3}" dt="2022-11-14T00:27:54.808" v="197" actId="20577"/>
          <ac:spMkLst>
            <pc:docMk/>
            <pc:sldMk cId="3020995615" sldId="1170"/>
            <ac:spMk id="3" creationId="{00000000-0000-0000-0000-000000000000}"/>
          </ac:spMkLst>
        </pc:spChg>
      </pc:sldChg>
      <pc:sldChg chg="del">
        <pc:chgData name="Tony M P" userId="ae1e3ab533ed63fd" providerId="LiveId" clId="{713F5F7A-E732-47F7-A136-40AF775938B3}" dt="2022-11-15T14:21:26.598" v="906" actId="47"/>
        <pc:sldMkLst>
          <pc:docMk/>
          <pc:sldMk cId="3480550551" sldId="1170"/>
        </pc:sldMkLst>
      </pc:sldChg>
      <pc:sldChg chg="del">
        <pc:chgData name="Tony M P" userId="ae1e3ab533ed63fd" providerId="LiveId" clId="{713F5F7A-E732-47F7-A136-40AF775938B3}" dt="2022-11-14T01:56:26.528" v="311" actId="47"/>
        <pc:sldMkLst>
          <pc:docMk/>
          <pc:sldMk cId="55648401" sldId="1171"/>
        </pc:sldMkLst>
      </pc:sldChg>
      <pc:sldChg chg="new del">
        <pc:chgData name="Tony M P" userId="ae1e3ab533ed63fd" providerId="LiveId" clId="{713F5F7A-E732-47F7-A136-40AF775938B3}" dt="2022-11-14T00:28:44.936" v="199" actId="47"/>
        <pc:sldMkLst>
          <pc:docMk/>
          <pc:sldMk cId="3630620993" sldId="1171"/>
        </pc:sldMkLst>
      </pc:sldChg>
      <pc:sldChg chg="del">
        <pc:chgData name="Tony M P" userId="ae1e3ab533ed63fd" providerId="LiveId" clId="{713F5F7A-E732-47F7-A136-40AF775938B3}" dt="2022-11-12T13:11:08.169" v="120" actId="47"/>
        <pc:sldMkLst>
          <pc:docMk/>
          <pc:sldMk cId="4116505925" sldId="1171"/>
        </pc:sldMkLst>
      </pc:sldChg>
      <pc:sldChg chg="del">
        <pc:chgData name="Tony M P" userId="ae1e3ab533ed63fd" providerId="LiveId" clId="{713F5F7A-E732-47F7-A136-40AF775938B3}" dt="2022-11-14T01:56:27.356" v="312" actId="47"/>
        <pc:sldMkLst>
          <pc:docMk/>
          <pc:sldMk cId="2583750534" sldId="1172"/>
        </pc:sldMkLst>
      </pc:sldChg>
      <pc:sldChg chg="del">
        <pc:chgData name="Tony M P" userId="ae1e3ab533ed63fd" providerId="LiveId" clId="{713F5F7A-E732-47F7-A136-40AF775938B3}" dt="2022-11-14T01:56:42.102" v="316" actId="47"/>
        <pc:sldMkLst>
          <pc:docMk/>
          <pc:sldMk cId="1807023515" sldId="1173"/>
        </pc:sldMkLst>
      </pc:sldChg>
      <pc:sldChg chg="del">
        <pc:chgData name="Tony M P" userId="ae1e3ab533ed63fd" providerId="LiveId" clId="{713F5F7A-E732-47F7-A136-40AF775938B3}" dt="2022-11-12T13:11:10.809" v="133" actId="47"/>
        <pc:sldMkLst>
          <pc:docMk/>
          <pc:sldMk cId="3997494905" sldId="1173"/>
        </pc:sldMkLst>
      </pc:sldChg>
      <pc:sldChg chg="del">
        <pc:chgData name="Tony M P" userId="ae1e3ab533ed63fd" providerId="LiveId" clId="{713F5F7A-E732-47F7-A136-40AF775938B3}" dt="2022-11-14T01:56:43.696" v="317" actId="47"/>
        <pc:sldMkLst>
          <pc:docMk/>
          <pc:sldMk cId="514027905" sldId="1174"/>
        </pc:sldMkLst>
      </pc:sldChg>
      <pc:sldChg chg="del">
        <pc:chgData name="Tony M P" userId="ae1e3ab533ed63fd" providerId="LiveId" clId="{713F5F7A-E732-47F7-A136-40AF775938B3}" dt="2022-11-12T13:11:09.794" v="128" actId="47"/>
        <pc:sldMkLst>
          <pc:docMk/>
          <pc:sldMk cId="2924891204" sldId="1174"/>
        </pc:sldMkLst>
      </pc:sldChg>
      <pc:sldChg chg="del">
        <pc:chgData name="Tony M P" userId="ae1e3ab533ed63fd" providerId="LiveId" clId="{713F5F7A-E732-47F7-A136-40AF775938B3}" dt="2022-11-12T13:11:09.013" v="124" actId="47"/>
        <pc:sldMkLst>
          <pc:docMk/>
          <pc:sldMk cId="2619775196" sldId="1175"/>
        </pc:sldMkLst>
      </pc:sldChg>
      <pc:sldChg chg="del">
        <pc:chgData name="Tony M P" userId="ae1e3ab533ed63fd" providerId="LiveId" clId="{713F5F7A-E732-47F7-A136-40AF775938B3}" dt="2022-11-12T13:11:08.419" v="121" actId="47"/>
        <pc:sldMkLst>
          <pc:docMk/>
          <pc:sldMk cId="2216087033" sldId="1176"/>
        </pc:sldMkLst>
      </pc:sldChg>
      <pc:sldChg chg="modSp del mod modAnim">
        <pc:chgData name="Tony M P" userId="ae1e3ab533ed63fd" providerId="LiveId" clId="{713F5F7A-E732-47F7-A136-40AF775938B3}" dt="2022-11-14T13:09:33.225" v="857" actId="2696"/>
        <pc:sldMkLst>
          <pc:docMk/>
          <pc:sldMk cId="2254048531" sldId="1176"/>
        </pc:sldMkLst>
        <pc:spChg chg="mod">
          <ac:chgData name="Tony M P" userId="ae1e3ab533ed63fd" providerId="LiveId" clId="{713F5F7A-E732-47F7-A136-40AF775938B3}" dt="2022-11-14T02:02:56.191" v="347" actId="20577"/>
          <ac:spMkLst>
            <pc:docMk/>
            <pc:sldMk cId="2254048531" sldId="1176"/>
            <ac:spMk id="2" creationId="{4BC799D2-5201-4330-9C8D-74D2FCE087A1}"/>
          </ac:spMkLst>
        </pc:spChg>
        <pc:spChg chg="mod">
          <ac:chgData name="Tony M P" userId="ae1e3ab533ed63fd" providerId="LiveId" clId="{713F5F7A-E732-47F7-A136-40AF775938B3}" dt="2022-11-14T02:13:01.231" v="775" actId="20577"/>
          <ac:spMkLst>
            <pc:docMk/>
            <pc:sldMk cId="2254048531" sldId="1176"/>
            <ac:spMk id="3" creationId="{1A0D75AF-4551-4813-824E-06D972287983}"/>
          </ac:spMkLst>
        </pc:spChg>
      </pc:sldChg>
      <pc:sldChg chg="del">
        <pc:chgData name="Tony M P" userId="ae1e3ab533ed63fd" providerId="LiveId" clId="{713F5F7A-E732-47F7-A136-40AF775938B3}" dt="2022-11-15T14:21:27.723" v="908" actId="47"/>
        <pc:sldMkLst>
          <pc:docMk/>
          <pc:sldMk cId="3036090982" sldId="1176"/>
        </pc:sldMkLst>
      </pc:sldChg>
      <pc:sldChg chg="addSp delSp modSp mod">
        <pc:chgData name="Tony M P" userId="ae1e3ab533ed63fd" providerId="LiveId" clId="{713F5F7A-E732-47F7-A136-40AF775938B3}" dt="2022-11-14T10:16:12.686" v="778"/>
        <pc:sldMkLst>
          <pc:docMk/>
          <pc:sldMk cId="1730886052" sldId="1177"/>
        </pc:sldMkLst>
        <pc:spChg chg="add del mod">
          <ac:chgData name="Tony M P" userId="ae1e3ab533ed63fd" providerId="LiveId" clId="{713F5F7A-E732-47F7-A136-40AF775938B3}" dt="2022-11-14T10:15:52.237" v="777" actId="478"/>
          <ac:spMkLst>
            <pc:docMk/>
            <pc:sldMk cId="1730886052" sldId="1177"/>
            <ac:spMk id="3" creationId="{96C70150-E6BA-9BBB-65CC-A3F85C6E5C6A}"/>
          </ac:spMkLst>
        </pc:spChg>
        <pc:spChg chg="del">
          <ac:chgData name="Tony M P" userId="ae1e3ab533ed63fd" providerId="LiveId" clId="{713F5F7A-E732-47F7-A136-40AF775938B3}" dt="2022-11-14T10:15:49.655" v="776" actId="478"/>
          <ac:spMkLst>
            <pc:docMk/>
            <pc:sldMk cId="1730886052" sldId="1177"/>
            <ac:spMk id="7" creationId="{00000000-0000-0000-0000-000000000000}"/>
          </ac:spMkLst>
        </pc:spChg>
        <pc:picChg chg="add">
          <ac:chgData name="Tony M P" userId="ae1e3ab533ed63fd" providerId="LiveId" clId="{713F5F7A-E732-47F7-A136-40AF775938B3}" dt="2022-11-14T10:16:12.686" v="778"/>
          <ac:picMkLst>
            <pc:docMk/>
            <pc:sldMk cId="1730886052" sldId="1177"/>
            <ac:picMk id="4" creationId="{1A0FC2E2-FA07-0122-645E-6A54D155C534}"/>
          </ac:picMkLst>
        </pc:picChg>
      </pc:sldChg>
      <pc:sldChg chg="del">
        <pc:chgData name="Tony M P" userId="ae1e3ab533ed63fd" providerId="LiveId" clId="{713F5F7A-E732-47F7-A136-40AF775938B3}" dt="2022-11-14T10:21:40.346" v="785" actId="47"/>
        <pc:sldMkLst>
          <pc:docMk/>
          <pc:sldMk cId="1178180537" sldId="1178"/>
        </pc:sldMkLst>
      </pc:sldChg>
      <pc:sldChg chg="del">
        <pc:chgData name="Tony M P" userId="ae1e3ab533ed63fd" providerId="LiveId" clId="{713F5F7A-E732-47F7-A136-40AF775938B3}" dt="2022-11-12T13:11:07.654" v="118" actId="47"/>
        <pc:sldMkLst>
          <pc:docMk/>
          <pc:sldMk cId="3163537612" sldId="1178"/>
        </pc:sldMkLst>
      </pc:sldChg>
      <pc:sldChg chg="addSp">
        <pc:chgData name="Tony M P" userId="ae1e3ab533ed63fd" providerId="LiveId" clId="{713F5F7A-E732-47F7-A136-40AF775938B3}" dt="2022-11-14T10:17:30.351" v="780"/>
        <pc:sldMkLst>
          <pc:docMk/>
          <pc:sldMk cId="218372873" sldId="1179"/>
        </pc:sldMkLst>
        <pc:picChg chg="add">
          <ac:chgData name="Tony M P" userId="ae1e3ab533ed63fd" providerId="LiveId" clId="{713F5F7A-E732-47F7-A136-40AF775938B3}" dt="2022-11-14T10:17:30.351" v="780"/>
          <ac:picMkLst>
            <pc:docMk/>
            <pc:sldMk cId="218372873" sldId="1179"/>
            <ac:picMk id="2" creationId="{65C934B8-EFB1-80F8-1017-F7EEC69301AB}"/>
          </ac:picMkLst>
        </pc:picChg>
      </pc:sldChg>
      <pc:sldChg chg="del">
        <pc:chgData name="Tony M P" userId="ae1e3ab533ed63fd" providerId="LiveId" clId="{713F5F7A-E732-47F7-A136-40AF775938B3}" dt="2022-11-12T13:11:09.200" v="125" actId="47"/>
        <pc:sldMkLst>
          <pc:docMk/>
          <pc:sldMk cId="2635732100" sldId="1179"/>
        </pc:sldMkLst>
      </pc:sldChg>
      <pc:sldChg chg="del">
        <pc:chgData name="Tony M P" userId="ae1e3ab533ed63fd" providerId="LiveId" clId="{713F5F7A-E732-47F7-A136-40AF775938B3}" dt="2022-11-12T13:11:09.388" v="126" actId="47"/>
        <pc:sldMkLst>
          <pc:docMk/>
          <pc:sldMk cId="3479935927" sldId="1180"/>
        </pc:sldMkLst>
      </pc:sldChg>
      <pc:sldChg chg="addSp">
        <pc:chgData name="Tony M P" userId="ae1e3ab533ed63fd" providerId="LiveId" clId="{713F5F7A-E732-47F7-A136-40AF775938B3}" dt="2022-11-14T10:16:43.822" v="779"/>
        <pc:sldMkLst>
          <pc:docMk/>
          <pc:sldMk cId="3898065881" sldId="1180"/>
        </pc:sldMkLst>
        <pc:picChg chg="add">
          <ac:chgData name="Tony M P" userId="ae1e3ab533ed63fd" providerId="LiveId" clId="{713F5F7A-E732-47F7-A136-40AF775938B3}" dt="2022-11-14T10:16:43.822" v="779"/>
          <ac:picMkLst>
            <pc:docMk/>
            <pc:sldMk cId="3898065881" sldId="1180"/>
            <ac:picMk id="2" creationId="{9C0DF108-2620-DE94-2778-09395EB70654}"/>
          </ac:picMkLst>
        </pc:picChg>
      </pc:sldChg>
      <pc:sldChg chg="del">
        <pc:chgData name="Tony M P" userId="ae1e3ab533ed63fd" providerId="LiveId" clId="{713F5F7A-E732-47F7-A136-40AF775938B3}" dt="2022-11-12T13:11:09.606" v="127" actId="47"/>
        <pc:sldMkLst>
          <pc:docMk/>
          <pc:sldMk cId="683931030" sldId="1181"/>
        </pc:sldMkLst>
      </pc:sldChg>
      <pc:sldChg chg="addSp ord">
        <pc:chgData name="Tony M P" userId="ae1e3ab533ed63fd" providerId="LiveId" clId="{713F5F7A-E732-47F7-A136-40AF775938B3}" dt="2022-11-14T10:20:53.234" v="784"/>
        <pc:sldMkLst>
          <pc:docMk/>
          <pc:sldMk cId="1370746280" sldId="1181"/>
        </pc:sldMkLst>
        <pc:picChg chg="add">
          <ac:chgData name="Tony M P" userId="ae1e3ab533ed63fd" providerId="LiveId" clId="{713F5F7A-E732-47F7-A136-40AF775938B3}" dt="2022-11-14T10:20:36.922" v="782"/>
          <ac:picMkLst>
            <pc:docMk/>
            <pc:sldMk cId="1370746280" sldId="1181"/>
            <ac:picMk id="2" creationId="{3FE813A6-1416-BE05-4151-A32298E9B736}"/>
          </ac:picMkLst>
        </pc:picChg>
      </pc:sldChg>
      <pc:sldChg chg="addSp">
        <pc:chgData name="Tony M P" userId="ae1e3ab533ed63fd" providerId="LiveId" clId="{713F5F7A-E732-47F7-A136-40AF775938B3}" dt="2022-11-14T10:17:57.956" v="781"/>
        <pc:sldMkLst>
          <pc:docMk/>
          <pc:sldMk cId="1043667424" sldId="1182"/>
        </pc:sldMkLst>
        <pc:picChg chg="add">
          <ac:chgData name="Tony M P" userId="ae1e3ab533ed63fd" providerId="LiveId" clId="{713F5F7A-E732-47F7-A136-40AF775938B3}" dt="2022-11-14T10:17:57.956" v="781"/>
          <ac:picMkLst>
            <pc:docMk/>
            <pc:sldMk cId="1043667424" sldId="1182"/>
            <ac:picMk id="2" creationId="{46762E2F-07BF-A9CA-4C70-1C24D05F37F2}"/>
          </ac:picMkLst>
        </pc:picChg>
      </pc:sldChg>
      <pc:sldChg chg="del">
        <pc:chgData name="Tony M P" userId="ae1e3ab533ed63fd" providerId="LiveId" clId="{713F5F7A-E732-47F7-A136-40AF775938B3}" dt="2022-11-12T13:11:10.403" v="131" actId="47"/>
        <pc:sldMkLst>
          <pc:docMk/>
          <pc:sldMk cId="1820060513" sldId="1182"/>
        </pc:sldMkLst>
      </pc:sldChg>
      <pc:sldChg chg="del">
        <pc:chgData name="Tony M P" userId="ae1e3ab533ed63fd" providerId="LiveId" clId="{713F5F7A-E732-47F7-A136-40AF775938B3}" dt="2022-11-15T14:21:12.570" v="879" actId="47"/>
        <pc:sldMkLst>
          <pc:docMk/>
          <pc:sldMk cId="477484901" sldId="1183"/>
        </pc:sldMkLst>
      </pc:sldChg>
      <pc:sldChg chg="del">
        <pc:chgData name="Tony M P" userId="ae1e3ab533ed63fd" providerId="LiveId" clId="{713F5F7A-E732-47F7-A136-40AF775938B3}" dt="2022-11-12T13:11:10.606" v="132" actId="47"/>
        <pc:sldMkLst>
          <pc:docMk/>
          <pc:sldMk cId="3143787187" sldId="1183"/>
        </pc:sldMkLst>
      </pc:sldChg>
      <pc:sldChg chg="del">
        <pc:chgData name="Tony M P" userId="ae1e3ab533ed63fd" providerId="LiveId" clId="{713F5F7A-E732-47F7-A136-40AF775938B3}" dt="2022-11-12T13:11:09.997" v="129" actId="47"/>
        <pc:sldMkLst>
          <pc:docMk/>
          <pc:sldMk cId="752205145" sldId="1184"/>
        </pc:sldMkLst>
      </pc:sldChg>
      <pc:sldChg chg="del">
        <pc:chgData name="Tony M P" userId="ae1e3ab533ed63fd" providerId="LiveId" clId="{713F5F7A-E732-47F7-A136-40AF775938B3}" dt="2022-11-15T14:21:13.023" v="880" actId="47"/>
        <pc:sldMkLst>
          <pc:docMk/>
          <pc:sldMk cId="764618893" sldId="1184"/>
        </pc:sldMkLst>
      </pc:sldChg>
      <pc:sldChg chg="del">
        <pc:chgData name="Tony M P" userId="ae1e3ab533ed63fd" providerId="LiveId" clId="{713F5F7A-E732-47F7-A136-40AF775938B3}" dt="2022-11-15T14:21:13.632" v="881" actId="47"/>
        <pc:sldMkLst>
          <pc:docMk/>
          <pc:sldMk cId="990198461" sldId="1185"/>
        </pc:sldMkLst>
      </pc:sldChg>
      <pc:sldChg chg="del">
        <pc:chgData name="Tony M P" userId="ae1e3ab533ed63fd" providerId="LiveId" clId="{713F5F7A-E732-47F7-A136-40AF775938B3}" dt="2022-11-12T13:11:10.184" v="130" actId="47"/>
        <pc:sldMkLst>
          <pc:docMk/>
          <pc:sldMk cId="3941037031" sldId="1185"/>
        </pc:sldMkLst>
      </pc:sldChg>
      <pc:sldChg chg="del">
        <pc:chgData name="Tony M P" userId="ae1e3ab533ed63fd" providerId="LiveId" clId="{713F5F7A-E732-47F7-A136-40AF775938B3}" dt="2022-11-15T14:21:14.289" v="882" actId="47"/>
        <pc:sldMkLst>
          <pc:docMk/>
          <pc:sldMk cId="376307255" sldId="1186"/>
        </pc:sldMkLst>
      </pc:sldChg>
      <pc:sldChg chg="del">
        <pc:chgData name="Tony M P" userId="ae1e3ab533ed63fd" providerId="LiveId" clId="{713F5F7A-E732-47F7-A136-40AF775938B3}" dt="2022-11-12T13:11:07.872" v="119" actId="47"/>
        <pc:sldMkLst>
          <pc:docMk/>
          <pc:sldMk cId="3294734856" sldId="1186"/>
        </pc:sldMkLst>
      </pc:sldChg>
      <pc:sldChg chg="del">
        <pc:chgData name="Tony M P" userId="ae1e3ab533ed63fd" providerId="LiveId" clId="{713F5F7A-E732-47F7-A136-40AF775938B3}" dt="2022-11-15T14:21:14.695" v="883" actId="47"/>
        <pc:sldMkLst>
          <pc:docMk/>
          <pc:sldMk cId="2620417061" sldId="1187"/>
        </pc:sldMkLst>
      </pc:sldChg>
      <pc:sldChg chg="del">
        <pc:chgData name="Tony M P" userId="ae1e3ab533ed63fd" providerId="LiveId" clId="{713F5F7A-E732-47F7-A136-40AF775938B3}" dt="2022-11-12T13:11:12.231" v="139" actId="47"/>
        <pc:sldMkLst>
          <pc:docMk/>
          <pc:sldMk cId="2215733314" sldId="1188"/>
        </pc:sldMkLst>
      </pc:sldChg>
      <pc:sldChg chg="del">
        <pc:chgData name="Tony M P" userId="ae1e3ab533ed63fd" providerId="LiveId" clId="{713F5F7A-E732-47F7-A136-40AF775938B3}" dt="2022-11-15T14:21:14.960" v="884" actId="47"/>
        <pc:sldMkLst>
          <pc:docMk/>
          <pc:sldMk cId="4044373449" sldId="1188"/>
        </pc:sldMkLst>
      </pc:sldChg>
      <pc:sldChg chg="del">
        <pc:chgData name="Tony M P" userId="ae1e3ab533ed63fd" providerId="LiveId" clId="{713F5F7A-E732-47F7-A136-40AF775938B3}" dt="2022-11-12T13:11:12.434" v="140" actId="47"/>
        <pc:sldMkLst>
          <pc:docMk/>
          <pc:sldMk cId="3906989634" sldId="1189"/>
        </pc:sldMkLst>
      </pc:sldChg>
      <pc:sldChg chg="del">
        <pc:chgData name="Tony M P" userId="ae1e3ab533ed63fd" providerId="LiveId" clId="{713F5F7A-E732-47F7-A136-40AF775938B3}" dt="2022-11-12T13:11:08.810" v="123" actId="47"/>
        <pc:sldMkLst>
          <pc:docMk/>
          <pc:sldMk cId="1241698823" sldId="1190"/>
        </pc:sldMkLst>
      </pc:sldChg>
      <pc:sldChg chg="del">
        <pc:chgData name="Tony M P" userId="ae1e3ab533ed63fd" providerId="LiveId" clId="{713F5F7A-E732-47F7-A136-40AF775938B3}" dt="2022-11-12T13:11:08.638" v="122" actId="47"/>
        <pc:sldMkLst>
          <pc:docMk/>
          <pc:sldMk cId="466890370" sldId="1191"/>
        </pc:sldMkLst>
      </pc:sldChg>
    </pc:docChg>
  </pc:docChgLst>
  <pc:docChgLst>
    <pc:chgData name="Tony M P" userId="ae1e3ab533ed63fd" providerId="LiveId" clId="{6AE3FDEB-D1B4-440E-851B-06BD641F28A2}"/>
    <pc:docChg chg="undo custSel addSld delSld modSld">
      <pc:chgData name="Tony M P" userId="ae1e3ab533ed63fd" providerId="LiveId" clId="{6AE3FDEB-D1B4-440E-851B-06BD641F28A2}" dt="2022-10-19T12:43:51.073" v="110" actId="14100"/>
      <pc:docMkLst>
        <pc:docMk/>
      </pc:docMkLst>
      <pc:sldChg chg="delSp">
        <pc:chgData name="Tony M P" userId="ae1e3ab533ed63fd" providerId="LiveId" clId="{6AE3FDEB-D1B4-440E-851B-06BD641F28A2}" dt="2022-10-19T12:37:03.947" v="58" actId="478"/>
        <pc:sldMkLst>
          <pc:docMk/>
          <pc:sldMk cId="4287993317" sldId="388"/>
        </pc:sldMkLst>
        <pc:spChg chg="del">
          <ac:chgData name="Tony M P" userId="ae1e3ab533ed63fd" providerId="LiveId" clId="{6AE3FDEB-D1B4-440E-851B-06BD641F28A2}" dt="2022-10-19T12:37:03.947" v="58" actId="478"/>
          <ac:spMkLst>
            <pc:docMk/>
            <pc:sldMk cId="4287993317" sldId="388"/>
            <ac:spMk id="3" creationId="{FE6FD16D-D5C7-7D8E-7B7A-68765549C2AA}"/>
          </ac:spMkLst>
        </pc:spChg>
      </pc:sldChg>
      <pc:sldChg chg="del">
        <pc:chgData name="Tony M P" userId="ae1e3ab533ed63fd" providerId="LiveId" clId="{6AE3FDEB-D1B4-440E-851B-06BD641F28A2}" dt="2022-10-19T12:14:24.247" v="31" actId="47"/>
        <pc:sldMkLst>
          <pc:docMk/>
          <pc:sldMk cId="2298963138" sldId="436"/>
        </pc:sldMkLst>
      </pc:sldChg>
      <pc:sldChg chg="del">
        <pc:chgData name="Tony M P" userId="ae1e3ab533ed63fd" providerId="LiveId" clId="{6AE3FDEB-D1B4-440E-851B-06BD641F28A2}" dt="2022-10-19T12:22:47.084" v="45" actId="47"/>
        <pc:sldMkLst>
          <pc:docMk/>
          <pc:sldMk cId="1873169478" sldId="488"/>
        </pc:sldMkLst>
      </pc:sldChg>
      <pc:sldChg chg="del">
        <pc:chgData name="Tony M P" userId="ae1e3ab533ed63fd" providerId="LiveId" clId="{6AE3FDEB-D1B4-440E-851B-06BD641F28A2}" dt="2022-10-19T12:22:48.360" v="46" actId="47"/>
        <pc:sldMkLst>
          <pc:docMk/>
          <pc:sldMk cId="270389161" sldId="489"/>
        </pc:sldMkLst>
      </pc:sldChg>
      <pc:sldChg chg="del">
        <pc:chgData name="Tony M P" userId="ae1e3ab533ed63fd" providerId="LiveId" clId="{6AE3FDEB-D1B4-440E-851B-06BD641F28A2}" dt="2022-10-19T12:23:00.527" v="56" actId="47"/>
        <pc:sldMkLst>
          <pc:docMk/>
          <pc:sldMk cId="1634463166" sldId="490"/>
        </pc:sldMkLst>
      </pc:sldChg>
      <pc:sldChg chg="del">
        <pc:chgData name="Tony M P" userId="ae1e3ab533ed63fd" providerId="LiveId" clId="{6AE3FDEB-D1B4-440E-851B-06BD641F28A2}" dt="2022-10-19T12:22:49.380" v="47" actId="47"/>
        <pc:sldMkLst>
          <pc:docMk/>
          <pc:sldMk cId="828606737" sldId="512"/>
        </pc:sldMkLst>
      </pc:sldChg>
      <pc:sldChg chg="del">
        <pc:chgData name="Tony M P" userId="ae1e3ab533ed63fd" providerId="LiveId" clId="{6AE3FDEB-D1B4-440E-851B-06BD641F28A2}" dt="2022-10-19T12:22:50.522" v="48" actId="47"/>
        <pc:sldMkLst>
          <pc:docMk/>
          <pc:sldMk cId="1818945284" sldId="513"/>
        </pc:sldMkLst>
      </pc:sldChg>
      <pc:sldChg chg="del">
        <pc:chgData name="Tony M P" userId="ae1e3ab533ed63fd" providerId="LiveId" clId="{6AE3FDEB-D1B4-440E-851B-06BD641F28A2}" dt="2022-10-19T12:22:51.244" v="49" actId="47"/>
        <pc:sldMkLst>
          <pc:docMk/>
          <pc:sldMk cId="3225693081" sldId="514"/>
        </pc:sldMkLst>
      </pc:sldChg>
      <pc:sldChg chg="del">
        <pc:chgData name="Tony M P" userId="ae1e3ab533ed63fd" providerId="LiveId" clId="{6AE3FDEB-D1B4-440E-851B-06BD641F28A2}" dt="2022-10-19T12:22:51.839" v="50" actId="47"/>
        <pc:sldMkLst>
          <pc:docMk/>
          <pc:sldMk cId="2334570762" sldId="515"/>
        </pc:sldMkLst>
      </pc:sldChg>
      <pc:sldChg chg="del">
        <pc:chgData name="Tony M P" userId="ae1e3ab533ed63fd" providerId="LiveId" clId="{6AE3FDEB-D1B4-440E-851B-06BD641F28A2}" dt="2022-10-19T12:22:52.399" v="51" actId="47"/>
        <pc:sldMkLst>
          <pc:docMk/>
          <pc:sldMk cId="4265361681" sldId="516"/>
        </pc:sldMkLst>
      </pc:sldChg>
      <pc:sldChg chg="del">
        <pc:chgData name="Tony M P" userId="ae1e3ab533ed63fd" providerId="LiveId" clId="{6AE3FDEB-D1B4-440E-851B-06BD641F28A2}" dt="2022-10-19T12:22:52.881" v="52" actId="47"/>
        <pc:sldMkLst>
          <pc:docMk/>
          <pc:sldMk cId="3173213172" sldId="517"/>
        </pc:sldMkLst>
      </pc:sldChg>
      <pc:sldChg chg="del">
        <pc:chgData name="Tony M P" userId="ae1e3ab533ed63fd" providerId="LiveId" clId="{6AE3FDEB-D1B4-440E-851B-06BD641F28A2}" dt="2022-10-19T12:22:53.478" v="53" actId="47"/>
        <pc:sldMkLst>
          <pc:docMk/>
          <pc:sldMk cId="3126975051" sldId="518"/>
        </pc:sldMkLst>
      </pc:sldChg>
      <pc:sldChg chg="del">
        <pc:chgData name="Tony M P" userId="ae1e3ab533ed63fd" providerId="LiveId" clId="{6AE3FDEB-D1B4-440E-851B-06BD641F28A2}" dt="2022-10-19T12:22:54.250" v="54" actId="47"/>
        <pc:sldMkLst>
          <pc:docMk/>
          <pc:sldMk cId="957285869" sldId="519"/>
        </pc:sldMkLst>
      </pc:sldChg>
      <pc:sldChg chg="del">
        <pc:chgData name="Tony M P" userId="ae1e3ab533ed63fd" providerId="LiveId" clId="{6AE3FDEB-D1B4-440E-851B-06BD641F28A2}" dt="2022-10-19T12:22:54.887" v="55" actId="47"/>
        <pc:sldMkLst>
          <pc:docMk/>
          <pc:sldMk cId="403584417" sldId="520"/>
        </pc:sldMkLst>
      </pc:sldChg>
      <pc:sldChg chg="del">
        <pc:chgData name="Tony M P" userId="ae1e3ab533ed63fd" providerId="LiveId" clId="{6AE3FDEB-D1B4-440E-851B-06BD641F28A2}" dt="2022-10-19T12:22:40.750" v="43" actId="47"/>
        <pc:sldMkLst>
          <pc:docMk/>
          <pc:sldMk cId="2945961055" sldId="541"/>
        </pc:sldMkLst>
      </pc:sldChg>
      <pc:sldChg chg="del">
        <pc:chgData name="Tony M P" userId="ae1e3ab533ed63fd" providerId="LiveId" clId="{6AE3FDEB-D1B4-440E-851B-06BD641F28A2}" dt="2022-10-19T12:22:41.640" v="44" actId="47"/>
        <pc:sldMkLst>
          <pc:docMk/>
          <pc:sldMk cId="3897482292" sldId="542"/>
        </pc:sldMkLst>
      </pc:sldChg>
      <pc:sldChg chg="modSp mod">
        <pc:chgData name="Tony M P" userId="ae1e3ab533ed63fd" providerId="LiveId" clId="{6AE3FDEB-D1B4-440E-851B-06BD641F28A2}" dt="2022-10-19T12:14:12.943" v="30" actId="20577"/>
        <pc:sldMkLst>
          <pc:docMk/>
          <pc:sldMk cId="1719205100" sldId="1030"/>
        </pc:sldMkLst>
        <pc:spChg chg="mod">
          <ac:chgData name="Tony M P" userId="ae1e3ab533ed63fd" providerId="LiveId" clId="{6AE3FDEB-D1B4-440E-851B-06BD641F28A2}" dt="2022-10-19T12:13:52.894" v="1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6AE3FDEB-D1B4-440E-851B-06BD641F28A2}" dt="2022-10-19T12:14:12.943" v="30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add del">
        <pc:chgData name="Tony M P" userId="ae1e3ab533ed63fd" providerId="LiveId" clId="{6AE3FDEB-D1B4-440E-851B-06BD641F28A2}" dt="2022-10-19T12:14:30.107" v="38" actId="47"/>
        <pc:sldMkLst>
          <pc:docMk/>
          <pc:sldMk cId="3622447542" sldId="1052"/>
        </pc:sldMkLst>
      </pc:sldChg>
      <pc:sldChg chg="addSp delSp modSp mod">
        <pc:chgData name="Tony M P" userId="ae1e3ab533ed63fd" providerId="LiveId" clId="{6AE3FDEB-D1B4-440E-851B-06BD641F28A2}" dt="2022-10-19T12:41:28.808" v="102" actId="14100"/>
        <pc:sldMkLst>
          <pc:docMk/>
          <pc:sldMk cId="1248274953" sldId="1053"/>
        </pc:sldMkLst>
        <pc:spChg chg="mod">
          <ac:chgData name="Tony M P" userId="ae1e3ab533ed63fd" providerId="LiveId" clId="{6AE3FDEB-D1B4-440E-851B-06BD641F28A2}" dt="2022-10-19T12:37:29.060" v="73" actId="20577"/>
          <ac:spMkLst>
            <pc:docMk/>
            <pc:sldMk cId="1248274953" sldId="1053"/>
            <ac:spMk id="2" creationId="{00000000-0000-0000-0000-000000000000}"/>
          </ac:spMkLst>
        </pc:spChg>
        <pc:spChg chg="del mod">
          <ac:chgData name="Tony M P" userId="ae1e3ab533ed63fd" providerId="LiveId" clId="{6AE3FDEB-D1B4-440E-851B-06BD641F28A2}" dt="2022-10-19T12:37:30.909" v="75"/>
          <ac:spMkLst>
            <pc:docMk/>
            <pc:sldMk cId="1248274953" sldId="1053"/>
            <ac:spMk id="4" creationId="{00000000-0000-0000-0000-000000000000}"/>
          </ac:spMkLst>
        </pc:spChg>
        <pc:picChg chg="add del">
          <ac:chgData name="Tony M P" userId="ae1e3ab533ed63fd" providerId="LiveId" clId="{6AE3FDEB-D1B4-440E-851B-06BD641F28A2}" dt="2022-10-19T12:37:39.920" v="77" actId="478"/>
          <ac:picMkLst>
            <pc:docMk/>
            <pc:sldMk cId="1248274953" sldId="1053"/>
            <ac:picMk id="3" creationId="{C456CCED-65DA-66D6-61E1-7D84EDB71710}"/>
          </ac:picMkLst>
        </pc:picChg>
        <pc:picChg chg="add mod">
          <ac:chgData name="Tony M P" userId="ae1e3ab533ed63fd" providerId="LiveId" clId="{6AE3FDEB-D1B4-440E-851B-06BD641F28A2}" dt="2022-10-19T12:41:28.808" v="102" actId="14100"/>
          <ac:picMkLst>
            <pc:docMk/>
            <pc:sldMk cId="1248274953" sldId="1053"/>
            <ac:picMk id="5" creationId="{53F2835F-D08B-74C3-1188-85867A33D7FA}"/>
          </ac:picMkLst>
        </pc:picChg>
      </pc:sldChg>
      <pc:sldChg chg="del">
        <pc:chgData name="Tony M P" userId="ae1e3ab533ed63fd" providerId="LiveId" clId="{6AE3FDEB-D1B4-440E-851B-06BD641F28A2}" dt="2022-10-19T12:23:01.078" v="57" actId="47"/>
        <pc:sldMkLst>
          <pc:docMk/>
          <pc:sldMk cId="2389286410" sldId="1053"/>
        </pc:sldMkLst>
      </pc:sldChg>
      <pc:sldChg chg="addSp modSp mod">
        <pc:chgData name="Tony M P" userId="ae1e3ab533ed63fd" providerId="LiveId" clId="{6AE3FDEB-D1B4-440E-851B-06BD641F28A2}" dt="2022-10-19T12:41:06.073" v="99" actId="14100"/>
        <pc:sldMkLst>
          <pc:docMk/>
          <pc:sldMk cId="3508164862" sldId="1054"/>
        </pc:sldMkLst>
        <pc:picChg chg="add mod">
          <ac:chgData name="Tony M P" userId="ae1e3ab533ed63fd" providerId="LiveId" clId="{6AE3FDEB-D1B4-440E-851B-06BD641F28A2}" dt="2022-10-19T12:41:06.073" v="99" actId="14100"/>
          <ac:picMkLst>
            <pc:docMk/>
            <pc:sldMk cId="3508164862" sldId="1054"/>
            <ac:picMk id="3" creationId="{8A07DAC9-A780-AC85-4B52-FFB2136A126D}"/>
          </ac:picMkLst>
        </pc:picChg>
      </pc:sldChg>
      <pc:sldChg chg="addSp modSp mod">
        <pc:chgData name="Tony M P" userId="ae1e3ab533ed63fd" providerId="LiveId" clId="{6AE3FDEB-D1B4-440E-851B-06BD641F28A2}" dt="2022-10-19T12:40:47.879" v="96" actId="14100"/>
        <pc:sldMkLst>
          <pc:docMk/>
          <pc:sldMk cId="2999382945" sldId="1055"/>
        </pc:sldMkLst>
        <pc:picChg chg="add mod">
          <ac:chgData name="Tony M P" userId="ae1e3ab533ed63fd" providerId="LiveId" clId="{6AE3FDEB-D1B4-440E-851B-06BD641F28A2}" dt="2022-10-19T12:40:47.879" v="96" actId="14100"/>
          <ac:picMkLst>
            <pc:docMk/>
            <pc:sldMk cId="2999382945" sldId="1055"/>
            <ac:picMk id="3" creationId="{6A892899-5686-1185-7909-153282DAA9C7}"/>
          </ac:picMkLst>
        </pc:picChg>
      </pc:sldChg>
      <pc:sldChg chg="addSp modSp mod">
        <pc:chgData name="Tony M P" userId="ae1e3ab533ed63fd" providerId="LiveId" clId="{6AE3FDEB-D1B4-440E-851B-06BD641F28A2}" dt="2022-10-19T12:40:32.846" v="94" actId="14100"/>
        <pc:sldMkLst>
          <pc:docMk/>
          <pc:sldMk cId="540317741" sldId="1056"/>
        </pc:sldMkLst>
        <pc:picChg chg="add mod">
          <ac:chgData name="Tony M P" userId="ae1e3ab533ed63fd" providerId="LiveId" clId="{6AE3FDEB-D1B4-440E-851B-06BD641F28A2}" dt="2022-10-19T12:40:32.846" v="94" actId="14100"/>
          <ac:picMkLst>
            <pc:docMk/>
            <pc:sldMk cId="540317741" sldId="1056"/>
            <ac:picMk id="3" creationId="{FC02E0AB-E68D-A09F-7B89-09F9EAF1ACE6}"/>
          </ac:picMkLst>
        </pc:picChg>
      </pc:sldChg>
      <pc:sldChg chg="addSp modSp mod">
        <pc:chgData name="Tony M P" userId="ae1e3ab533ed63fd" providerId="LiveId" clId="{6AE3FDEB-D1B4-440E-851B-06BD641F28A2}" dt="2022-10-19T12:43:51.073" v="110" actId="14100"/>
        <pc:sldMkLst>
          <pc:docMk/>
          <pc:sldMk cId="1426395926" sldId="1057"/>
        </pc:sldMkLst>
        <pc:picChg chg="add mod">
          <ac:chgData name="Tony M P" userId="ae1e3ab533ed63fd" providerId="LiveId" clId="{6AE3FDEB-D1B4-440E-851B-06BD641F28A2}" dt="2022-10-19T12:43:51.073" v="110" actId="14100"/>
          <ac:picMkLst>
            <pc:docMk/>
            <pc:sldMk cId="1426395926" sldId="1057"/>
            <ac:picMk id="3" creationId="{0F2D7686-AAB9-9832-1256-3C54C41C4CB2}"/>
          </ac:picMkLst>
        </pc:picChg>
      </pc:sldChg>
      <pc:sldChg chg="addSp modSp mod">
        <pc:chgData name="Tony M P" userId="ae1e3ab533ed63fd" providerId="LiveId" clId="{6AE3FDEB-D1B4-440E-851B-06BD641F28A2}" dt="2022-10-19T12:39:52.774" v="92" actId="14100"/>
        <pc:sldMkLst>
          <pc:docMk/>
          <pc:sldMk cId="1234242492" sldId="1058"/>
        </pc:sldMkLst>
        <pc:picChg chg="add mod">
          <ac:chgData name="Tony M P" userId="ae1e3ab533ed63fd" providerId="LiveId" clId="{6AE3FDEB-D1B4-440E-851B-06BD641F28A2}" dt="2022-10-19T12:39:52.774" v="92" actId="14100"/>
          <ac:picMkLst>
            <pc:docMk/>
            <pc:sldMk cId="1234242492" sldId="1058"/>
            <ac:picMk id="3" creationId="{5D38CC6A-8EBF-2D86-9CAC-55F2BF5490D5}"/>
          </ac:picMkLst>
        </pc:picChg>
      </pc:sldChg>
      <pc:sldChg chg="addSp modSp mod">
        <pc:chgData name="Tony M P" userId="ae1e3ab533ed63fd" providerId="LiveId" clId="{6AE3FDEB-D1B4-440E-851B-06BD641F28A2}" dt="2022-10-19T12:39:24.384" v="87" actId="14100"/>
        <pc:sldMkLst>
          <pc:docMk/>
          <pc:sldMk cId="3662510088" sldId="1059"/>
        </pc:sldMkLst>
        <pc:picChg chg="add mod">
          <ac:chgData name="Tony M P" userId="ae1e3ab533ed63fd" providerId="LiveId" clId="{6AE3FDEB-D1B4-440E-851B-06BD641F28A2}" dt="2022-10-19T12:39:24.384" v="87" actId="14100"/>
          <ac:picMkLst>
            <pc:docMk/>
            <pc:sldMk cId="3662510088" sldId="1059"/>
            <ac:picMk id="3" creationId="{D78C65F1-E5B2-FE08-FFF8-05C17141A6AE}"/>
          </ac:picMkLst>
        </pc:picChg>
      </pc:sldChg>
      <pc:sldChg chg="addSp modSp mod">
        <pc:chgData name="Tony M P" userId="ae1e3ab533ed63fd" providerId="LiveId" clId="{6AE3FDEB-D1B4-440E-851B-06BD641F28A2}" dt="2022-10-19T12:39:05.053" v="84" actId="14100"/>
        <pc:sldMkLst>
          <pc:docMk/>
          <pc:sldMk cId="3443948513" sldId="1060"/>
        </pc:sldMkLst>
        <pc:picChg chg="add mod">
          <ac:chgData name="Tony M P" userId="ae1e3ab533ed63fd" providerId="LiveId" clId="{6AE3FDEB-D1B4-440E-851B-06BD641F28A2}" dt="2022-10-19T12:39:05.053" v="84" actId="14100"/>
          <ac:picMkLst>
            <pc:docMk/>
            <pc:sldMk cId="3443948513" sldId="1060"/>
            <ac:picMk id="3" creationId="{A749F682-0943-8D4F-6EAD-0DA261098681}"/>
          </ac:picMkLst>
        </pc:picChg>
      </pc:sldChg>
      <pc:sldChg chg="addSp modSp mod">
        <pc:chgData name="Tony M P" userId="ae1e3ab533ed63fd" providerId="LiveId" clId="{6AE3FDEB-D1B4-440E-851B-06BD641F28A2}" dt="2022-10-19T12:38:38.692" v="82" actId="14100"/>
        <pc:sldMkLst>
          <pc:docMk/>
          <pc:sldMk cId="1347182597" sldId="1061"/>
        </pc:sldMkLst>
        <pc:picChg chg="add mod">
          <ac:chgData name="Tony M P" userId="ae1e3ab533ed63fd" providerId="LiveId" clId="{6AE3FDEB-D1B4-440E-851B-06BD641F28A2}" dt="2022-10-19T12:38:38.692" v="82" actId="14100"/>
          <ac:picMkLst>
            <pc:docMk/>
            <pc:sldMk cId="1347182597" sldId="1061"/>
            <ac:picMk id="3" creationId="{A1032FE0-D97A-0A85-AB3B-3E55A49671D0}"/>
          </ac:picMkLst>
        </pc:picChg>
      </pc:sldChg>
      <pc:sldChg chg="addSp modSp mod">
        <pc:chgData name="Tony M P" userId="ae1e3ab533ed63fd" providerId="LiveId" clId="{6AE3FDEB-D1B4-440E-851B-06BD641F28A2}" dt="2022-10-19T12:38:13.345" v="79" actId="14100"/>
        <pc:sldMkLst>
          <pc:docMk/>
          <pc:sldMk cId="1831919672" sldId="1062"/>
        </pc:sldMkLst>
        <pc:picChg chg="add mod">
          <ac:chgData name="Tony M P" userId="ae1e3ab533ed63fd" providerId="LiveId" clId="{6AE3FDEB-D1B4-440E-851B-06BD641F28A2}" dt="2022-10-19T12:38:13.345" v="79" actId="14100"/>
          <ac:picMkLst>
            <pc:docMk/>
            <pc:sldMk cId="1831919672" sldId="1062"/>
            <ac:picMk id="3" creationId="{A0FD944C-1BCA-F93C-92C3-18B05EBEE37D}"/>
          </ac:picMkLst>
        </pc:picChg>
      </pc:sldChg>
      <pc:sldChg chg="addSp delSp modSp add mod">
        <pc:chgData name="Tony M P" userId="ae1e3ab533ed63fd" providerId="LiveId" clId="{6AE3FDEB-D1B4-440E-851B-06BD641F28A2}" dt="2022-10-19T12:41:53.637" v="107" actId="14100"/>
        <pc:sldMkLst>
          <pc:docMk/>
          <pc:sldMk cId="510659032" sldId="1063"/>
        </pc:sldMkLst>
        <pc:picChg chg="add mod">
          <ac:chgData name="Tony M P" userId="ae1e3ab533ed63fd" providerId="LiveId" clId="{6AE3FDEB-D1B4-440E-851B-06BD641F28A2}" dt="2022-10-19T12:41:53.637" v="107" actId="14100"/>
          <ac:picMkLst>
            <pc:docMk/>
            <pc:sldMk cId="510659032" sldId="1063"/>
            <ac:picMk id="3" creationId="{530B133F-C40C-07E8-AFB3-FDB5DC5753E6}"/>
          </ac:picMkLst>
        </pc:picChg>
        <pc:picChg chg="del">
          <ac:chgData name="Tony M P" userId="ae1e3ab533ed63fd" providerId="LiveId" clId="{6AE3FDEB-D1B4-440E-851B-06BD641F28A2}" dt="2022-10-19T12:41:39.929" v="104" actId="478"/>
          <ac:picMkLst>
            <pc:docMk/>
            <pc:sldMk cId="510659032" sldId="1063"/>
            <ac:picMk id="5" creationId="{53F2835F-D08B-74C3-1188-85867A33D7FA}"/>
          </ac:picMkLst>
        </pc:picChg>
      </pc:sldChg>
      <pc:sldChg chg="del">
        <pc:chgData name="Tony M P" userId="ae1e3ab533ed63fd" providerId="LiveId" clId="{6AE3FDEB-D1B4-440E-851B-06BD641F28A2}" dt="2022-10-19T12:14:42.646" v="42" actId="47"/>
        <pc:sldMkLst>
          <pc:docMk/>
          <pc:sldMk cId="129919869" sldId="1097"/>
        </pc:sldMkLst>
      </pc:sldChg>
      <pc:sldChg chg="del">
        <pc:chgData name="Tony M P" userId="ae1e3ab533ed63fd" providerId="LiveId" clId="{6AE3FDEB-D1B4-440E-851B-06BD641F28A2}" dt="2022-10-19T12:14:42.095" v="41" actId="47"/>
        <pc:sldMkLst>
          <pc:docMk/>
          <pc:sldMk cId="538710324" sldId="1104"/>
        </pc:sldMkLst>
      </pc:sldChg>
      <pc:sldChg chg="del">
        <pc:chgData name="Tony M P" userId="ae1e3ab533ed63fd" providerId="LiveId" clId="{6AE3FDEB-D1B4-440E-851B-06BD641F28A2}" dt="2022-10-19T12:14:25.723" v="33" actId="47"/>
        <pc:sldMkLst>
          <pc:docMk/>
          <pc:sldMk cId="2598736178" sldId="1105"/>
        </pc:sldMkLst>
      </pc:sldChg>
      <pc:sldChg chg="del">
        <pc:chgData name="Tony M P" userId="ae1e3ab533ed63fd" providerId="LiveId" clId="{6AE3FDEB-D1B4-440E-851B-06BD641F28A2}" dt="2022-10-19T12:14:25.188" v="32" actId="47"/>
        <pc:sldMkLst>
          <pc:docMk/>
          <pc:sldMk cId="426583830" sldId="1124"/>
        </pc:sldMkLst>
      </pc:sldChg>
      <pc:sldChg chg="del">
        <pc:chgData name="Tony M P" userId="ae1e3ab533ed63fd" providerId="LiveId" clId="{6AE3FDEB-D1B4-440E-851B-06BD641F28A2}" dt="2022-10-19T12:14:39.061" v="39" actId="47"/>
        <pc:sldMkLst>
          <pc:docMk/>
          <pc:sldMk cId="648716042" sldId="1127"/>
        </pc:sldMkLst>
      </pc:sldChg>
      <pc:sldChg chg="del">
        <pc:chgData name="Tony M P" userId="ae1e3ab533ed63fd" providerId="LiveId" clId="{6AE3FDEB-D1B4-440E-851B-06BD641F28A2}" dt="2022-10-19T12:14:40.822" v="40" actId="47"/>
        <pc:sldMkLst>
          <pc:docMk/>
          <pc:sldMk cId="3557483372" sldId="1128"/>
        </pc:sldMkLst>
      </pc:sldChg>
      <pc:sldChg chg="del">
        <pc:chgData name="Tony M P" userId="ae1e3ab533ed63fd" providerId="LiveId" clId="{6AE3FDEB-D1B4-440E-851B-06BD641F28A2}" dt="2022-10-19T12:14:26.203" v="34" actId="47"/>
        <pc:sldMkLst>
          <pc:docMk/>
          <pc:sldMk cId="2547597945" sldId="1129"/>
        </pc:sldMkLst>
      </pc:sldChg>
      <pc:sldChg chg="del">
        <pc:chgData name="Tony M P" userId="ae1e3ab533ed63fd" providerId="LiveId" clId="{6AE3FDEB-D1B4-440E-851B-06BD641F28A2}" dt="2022-10-19T12:14:26.906" v="36" actId="47"/>
        <pc:sldMkLst>
          <pc:docMk/>
          <pc:sldMk cId="3370779892" sldId="1130"/>
        </pc:sldMkLst>
      </pc:sldChg>
      <pc:sldChg chg="del">
        <pc:chgData name="Tony M P" userId="ae1e3ab533ed63fd" providerId="LiveId" clId="{6AE3FDEB-D1B4-440E-851B-06BD641F28A2}" dt="2022-10-19T12:14:26.617" v="35" actId="47"/>
        <pc:sldMkLst>
          <pc:docMk/>
          <pc:sldMk cId="3437825338" sldId="1131"/>
        </pc:sldMkLst>
      </pc:sldChg>
    </pc:docChg>
  </pc:docChgLst>
  <pc:docChgLst>
    <pc:chgData name="Tony M P" userId="ae1e3ab533ed63fd" providerId="LiveId" clId="{3330D3AF-7650-4B01-B100-B83B426FC4D9}"/>
    <pc:docChg chg="undo custSel addSld delSld modSld">
      <pc:chgData name="Tony M P" userId="ae1e3ab533ed63fd" providerId="LiveId" clId="{3330D3AF-7650-4B01-B100-B83B426FC4D9}" dt="2023-11-16T02:13:23.806" v="479" actId="20577"/>
      <pc:docMkLst>
        <pc:docMk/>
      </pc:docMkLst>
      <pc:sldChg chg="del">
        <pc:chgData name="Tony M P" userId="ae1e3ab533ed63fd" providerId="LiveId" clId="{3330D3AF-7650-4B01-B100-B83B426FC4D9}" dt="2023-11-16T01:42:55.487" v="443" actId="47"/>
        <pc:sldMkLst>
          <pc:docMk/>
          <pc:sldMk cId="1214316783" sldId="899"/>
        </pc:sldMkLst>
      </pc:sldChg>
      <pc:sldChg chg="del">
        <pc:chgData name="Tony M P" userId="ae1e3ab533ed63fd" providerId="LiveId" clId="{3330D3AF-7650-4B01-B100-B83B426FC4D9}" dt="2023-11-16T01:43:34.011" v="444" actId="47"/>
        <pc:sldMkLst>
          <pc:docMk/>
          <pc:sldMk cId="1831293615" sldId="932"/>
        </pc:sldMkLst>
      </pc:sldChg>
      <pc:sldChg chg="del">
        <pc:chgData name="Tony M P" userId="ae1e3ab533ed63fd" providerId="LiveId" clId="{3330D3AF-7650-4B01-B100-B83B426FC4D9}" dt="2023-11-16T01:43:34.949" v="445" actId="47"/>
        <pc:sldMkLst>
          <pc:docMk/>
          <pc:sldMk cId="3400261819" sldId="933"/>
        </pc:sldMkLst>
      </pc:sldChg>
      <pc:sldChg chg="del">
        <pc:chgData name="Tony M P" userId="ae1e3ab533ed63fd" providerId="LiveId" clId="{3330D3AF-7650-4B01-B100-B83B426FC4D9}" dt="2023-11-16T01:43:35.417" v="446" actId="47"/>
        <pc:sldMkLst>
          <pc:docMk/>
          <pc:sldMk cId="482401331" sldId="934"/>
        </pc:sldMkLst>
      </pc:sldChg>
      <pc:sldChg chg="del">
        <pc:chgData name="Tony M P" userId="ae1e3ab533ed63fd" providerId="LiveId" clId="{3330D3AF-7650-4B01-B100-B83B426FC4D9}" dt="2023-11-16T01:43:35.948" v="447" actId="47"/>
        <pc:sldMkLst>
          <pc:docMk/>
          <pc:sldMk cId="184062721" sldId="935"/>
        </pc:sldMkLst>
      </pc:sldChg>
      <pc:sldChg chg="del">
        <pc:chgData name="Tony M P" userId="ae1e3ab533ed63fd" providerId="LiveId" clId="{3330D3AF-7650-4B01-B100-B83B426FC4D9}" dt="2023-11-16T01:43:37.591" v="450" actId="47"/>
        <pc:sldMkLst>
          <pc:docMk/>
          <pc:sldMk cId="2201685088" sldId="939"/>
        </pc:sldMkLst>
      </pc:sldChg>
      <pc:sldChg chg="del">
        <pc:chgData name="Tony M P" userId="ae1e3ab533ed63fd" providerId="LiveId" clId="{3330D3AF-7650-4B01-B100-B83B426FC4D9}" dt="2023-11-16T01:43:37.042" v="449" actId="47"/>
        <pc:sldMkLst>
          <pc:docMk/>
          <pc:sldMk cId="2934869618" sldId="940"/>
        </pc:sldMkLst>
      </pc:sldChg>
      <pc:sldChg chg="del">
        <pc:chgData name="Tony M P" userId="ae1e3ab533ed63fd" providerId="LiveId" clId="{3330D3AF-7650-4B01-B100-B83B426FC4D9}" dt="2023-11-16T01:43:36.464" v="448" actId="47"/>
        <pc:sldMkLst>
          <pc:docMk/>
          <pc:sldMk cId="409676482" sldId="941"/>
        </pc:sldMkLst>
      </pc:sldChg>
      <pc:sldChg chg="modSp mod">
        <pc:chgData name="Tony M P" userId="ae1e3ab533ed63fd" providerId="LiveId" clId="{3330D3AF-7650-4B01-B100-B83B426FC4D9}" dt="2023-11-15T00:18:27.409" v="97" actId="14100"/>
        <pc:sldMkLst>
          <pc:docMk/>
          <pc:sldMk cId="827826336" sldId="966"/>
        </pc:sldMkLst>
        <pc:graphicFrameChg chg="mod modGraphic">
          <ac:chgData name="Tony M P" userId="ae1e3ab533ed63fd" providerId="LiveId" clId="{3330D3AF-7650-4B01-B100-B83B426FC4D9}" dt="2023-11-15T00:18:27.409" v="97" actId="14100"/>
          <ac:graphicFrameMkLst>
            <pc:docMk/>
            <pc:sldMk cId="827826336" sldId="966"/>
            <ac:graphicFrameMk id="5" creationId="{3FED1ABB-0D5E-4361-B9E1-18EC56CFD58C}"/>
          </ac:graphicFrameMkLst>
        </pc:graphicFrameChg>
      </pc:sldChg>
      <pc:sldChg chg="add del">
        <pc:chgData name="Tony M P" userId="ae1e3ab533ed63fd" providerId="LiveId" clId="{3330D3AF-7650-4B01-B100-B83B426FC4D9}" dt="2023-11-16T01:36:48.007" v="442" actId="47"/>
        <pc:sldMkLst>
          <pc:docMk/>
          <pc:sldMk cId="2111490205" sldId="967"/>
        </pc:sldMkLst>
      </pc:sldChg>
      <pc:sldChg chg="del">
        <pc:chgData name="Tony M P" userId="ae1e3ab533ed63fd" providerId="LiveId" clId="{3330D3AF-7650-4B01-B100-B83B426FC4D9}" dt="2023-11-16T01:58:08.665" v="467" actId="47"/>
        <pc:sldMkLst>
          <pc:docMk/>
          <pc:sldMk cId="1719205100" sldId="1030"/>
        </pc:sldMkLst>
      </pc:sldChg>
      <pc:sldChg chg="addSp delSp modSp mod">
        <pc:chgData name="Tony M P" userId="ae1e3ab533ed63fd" providerId="LiveId" clId="{3330D3AF-7650-4B01-B100-B83B426FC4D9}" dt="2023-11-16T01:16:48.434" v="382" actId="14100"/>
        <pc:sldMkLst>
          <pc:docMk/>
          <pc:sldMk cId="1730886052" sldId="1177"/>
        </pc:sldMkLst>
        <pc:picChg chg="add mod">
          <ac:chgData name="Tony M P" userId="ae1e3ab533ed63fd" providerId="LiveId" clId="{3330D3AF-7650-4B01-B100-B83B426FC4D9}" dt="2023-11-16T01:09:53.728" v="352" actId="1076"/>
          <ac:picMkLst>
            <pc:docMk/>
            <pc:sldMk cId="1730886052" sldId="1177"/>
            <ac:picMk id="2" creationId="{E84B7EAE-332F-E1C7-45B6-8F4BBDDEA7D2}"/>
          </ac:picMkLst>
        </pc:picChg>
        <pc:picChg chg="mod">
          <ac:chgData name="Tony M P" userId="ae1e3ab533ed63fd" providerId="LiveId" clId="{3330D3AF-7650-4B01-B100-B83B426FC4D9}" dt="2023-11-16T01:08:55.833" v="341" actId="1076"/>
          <ac:picMkLst>
            <pc:docMk/>
            <pc:sldMk cId="1730886052" sldId="1177"/>
            <ac:picMk id="4" creationId="{1A0FC2E2-FA07-0122-645E-6A54D155C534}"/>
          </ac:picMkLst>
        </pc:picChg>
        <pc:picChg chg="add mod">
          <ac:chgData name="Tony M P" userId="ae1e3ab533ed63fd" providerId="LiveId" clId="{3330D3AF-7650-4B01-B100-B83B426FC4D9}" dt="2023-11-16T01:13:33.261" v="366" actId="1076"/>
          <ac:picMkLst>
            <pc:docMk/>
            <pc:sldMk cId="1730886052" sldId="1177"/>
            <ac:picMk id="5" creationId="{80C2A858-306B-BCF9-00F8-6A58D6F58CFE}"/>
          </ac:picMkLst>
        </pc:picChg>
        <pc:picChg chg="add mod">
          <ac:chgData name="Tony M P" userId="ae1e3ab533ed63fd" providerId="LiveId" clId="{3330D3AF-7650-4B01-B100-B83B426FC4D9}" dt="2023-11-16T01:13:16.257" v="364" actId="14100"/>
          <ac:picMkLst>
            <pc:docMk/>
            <pc:sldMk cId="1730886052" sldId="1177"/>
            <ac:picMk id="7" creationId="{C2391130-9131-3097-6CD2-5BF906FDF70B}"/>
          </ac:picMkLst>
        </pc:picChg>
        <pc:picChg chg="add del mod">
          <ac:chgData name="Tony M P" userId="ae1e3ab533ed63fd" providerId="LiveId" clId="{3330D3AF-7650-4B01-B100-B83B426FC4D9}" dt="2023-11-16T01:15:15.549" v="377" actId="478"/>
          <ac:picMkLst>
            <pc:docMk/>
            <pc:sldMk cId="1730886052" sldId="1177"/>
            <ac:picMk id="8" creationId="{851B1043-08CE-4304-B853-CAFD40C86B6A}"/>
          </ac:picMkLst>
        </pc:picChg>
        <pc:picChg chg="add mod">
          <ac:chgData name="Tony M P" userId="ae1e3ab533ed63fd" providerId="LiveId" clId="{3330D3AF-7650-4B01-B100-B83B426FC4D9}" dt="2023-11-16T01:16:48.434" v="382" actId="14100"/>
          <ac:picMkLst>
            <pc:docMk/>
            <pc:sldMk cId="1730886052" sldId="1177"/>
            <ac:picMk id="10" creationId="{85685B33-F9E1-144C-1ED4-D12D2D189E2E}"/>
          </ac:picMkLst>
        </pc:picChg>
      </pc:sldChg>
      <pc:sldChg chg="addSp modSp mod">
        <pc:chgData name="Tony M P" userId="ae1e3ab533ed63fd" providerId="LiveId" clId="{3330D3AF-7650-4B01-B100-B83B426FC4D9}" dt="2023-11-16T01:31:07.721" v="422" actId="1076"/>
        <pc:sldMkLst>
          <pc:docMk/>
          <pc:sldMk cId="218372873" sldId="1179"/>
        </pc:sldMkLst>
        <pc:picChg chg="add mod">
          <ac:chgData name="Tony M P" userId="ae1e3ab533ed63fd" providerId="LiveId" clId="{3330D3AF-7650-4B01-B100-B83B426FC4D9}" dt="2023-11-16T01:22:28.865" v="402" actId="14100"/>
          <ac:picMkLst>
            <pc:docMk/>
            <pc:sldMk cId="218372873" sldId="1179"/>
            <ac:picMk id="3" creationId="{3A7867FB-F9F3-FFA3-B5C7-711412041FD9}"/>
          </ac:picMkLst>
        </pc:picChg>
        <pc:picChg chg="add mod">
          <ac:chgData name="Tony M P" userId="ae1e3ab533ed63fd" providerId="LiveId" clId="{3330D3AF-7650-4B01-B100-B83B426FC4D9}" dt="2023-11-16T01:29:34.514" v="413" actId="14100"/>
          <ac:picMkLst>
            <pc:docMk/>
            <pc:sldMk cId="218372873" sldId="1179"/>
            <ac:picMk id="5" creationId="{98AF9917-4BFD-AE58-1A63-1DE2CD280E7D}"/>
          </ac:picMkLst>
        </pc:picChg>
        <pc:picChg chg="add mod">
          <ac:chgData name="Tony M P" userId="ae1e3ab533ed63fd" providerId="LiveId" clId="{3330D3AF-7650-4B01-B100-B83B426FC4D9}" dt="2023-11-16T01:31:07.721" v="422" actId="1076"/>
          <ac:picMkLst>
            <pc:docMk/>
            <pc:sldMk cId="218372873" sldId="1179"/>
            <ac:picMk id="7" creationId="{DD1DEC3B-BD55-546A-3C1C-369334EF504C}"/>
          </ac:picMkLst>
        </pc:picChg>
      </pc:sldChg>
      <pc:sldChg chg="addSp modSp mod">
        <pc:chgData name="Tony M P" userId="ae1e3ab533ed63fd" providerId="LiveId" clId="{3330D3AF-7650-4B01-B100-B83B426FC4D9}" dt="2023-11-16T01:21:34.808" v="398" actId="1076"/>
        <pc:sldMkLst>
          <pc:docMk/>
          <pc:sldMk cId="3898065881" sldId="1180"/>
        </pc:sldMkLst>
        <pc:picChg chg="mod">
          <ac:chgData name="Tony M P" userId="ae1e3ab533ed63fd" providerId="LiveId" clId="{3330D3AF-7650-4B01-B100-B83B426FC4D9}" dt="2023-11-16T01:21:16.466" v="394" actId="1076"/>
          <ac:picMkLst>
            <pc:docMk/>
            <pc:sldMk cId="3898065881" sldId="1180"/>
            <ac:picMk id="2" creationId="{9C0DF108-2620-DE94-2778-09395EB70654}"/>
          </ac:picMkLst>
        </pc:picChg>
        <pc:picChg chg="add mod">
          <ac:chgData name="Tony M P" userId="ae1e3ab533ed63fd" providerId="LiveId" clId="{3330D3AF-7650-4B01-B100-B83B426FC4D9}" dt="2023-11-16T01:04:34.331" v="329" actId="1076"/>
          <ac:picMkLst>
            <pc:docMk/>
            <pc:sldMk cId="3898065881" sldId="1180"/>
            <ac:picMk id="3" creationId="{40753EB3-E27F-B24B-4EFF-4C070FDAFEAD}"/>
          </ac:picMkLst>
        </pc:picChg>
        <pc:picChg chg="add mod">
          <ac:chgData name="Tony M P" userId="ae1e3ab533ed63fd" providerId="LiveId" clId="{3330D3AF-7650-4B01-B100-B83B426FC4D9}" dt="2023-11-16T01:19:20.187" v="385" actId="14100"/>
          <ac:picMkLst>
            <pc:docMk/>
            <pc:sldMk cId="3898065881" sldId="1180"/>
            <ac:picMk id="4" creationId="{27131605-F8FA-A954-4BA2-F3F09B749E59}"/>
          </ac:picMkLst>
        </pc:picChg>
        <pc:picChg chg="add mod">
          <ac:chgData name="Tony M P" userId="ae1e3ab533ed63fd" providerId="LiveId" clId="{3330D3AF-7650-4B01-B100-B83B426FC4D9}" dt="2023-11-16T01:19:49.336" v="389" actId="1076"/>
          <ac:picMkLst>
            <pc:docMk/>
            <pc:sldMk cId="3898065881" sldId="1180"/>
            <ac:picMk id="5" creationId="{7F9712E7-EA91-2188-CA41-72215AA05557}"/>
          </ac:picMkLst>
        </pc:picChg>
        <pc:picChg chg="add mod">
          <ac:chgData name="Tony M P" userId="ae1e3ab533ed63fd" providerId="LiveId" clId="{3330D3AF-7650-4B01-B100-B83B426FC4D9}" dt="2023-11-16T01:20:05.473" v="391" actId="1076"/>
          <ac:picMkLst>
            <pc:docMk/>
            <pc:sldMk cId="3898065881" sldId="1180"/>
            <ac:picMk id="6" creationId="{20D34451-AA65-B81A-EA91-C56B8782F0F0}"/>
          </ac:picMkLst>
        </pc:picChg>
        <pc:picChg chg="add mod">
          <ac:chgData name="Tony M P" userId="ae1e3ab533ed63fd" providerId="LiveId" clId="{3330D3AF-7650-4B01-B100-B83B426FC4D9}" dt="2023-11-16T01:21:34.808" v="398" actId="1076"/>
          <ac:picMkLst>
            <pc:docMk/>
            <pc:sldMk cId="3898065881" sldId="1180"/>
            <ac:picMk id="8" creationId="{BE1521B4-72E4-175F-3A13-B2AF4BDD8564}"/>
          </ac:picMkLst>
        </pc:picChg>
      </pc:sldChg>
      <pc:sldChg chg="addSp modSp mod">
        <pc:chgData name="Tony M P" userId="ae1e3ab533ed63fd" providerId="LiveId" clId="{3330D3AF-7650-4B01-B100-B83B426FC4D9}" dt="2023-11-16T01:32:57.506" v="432" actId="14100"/>
        <pc:sldMkLst>
          <pc:docMk/>
          <pc:sldMk cId="1043667424" sldId="1182"/>
        </pc:sldMkLst>
        <pc:picChg chg="add mod">
          <ac:chgData name="Tony M P" userId="ae1e3ab533ed63fd" providerId="LiveId" clId="{3330D3AF-7650-4B01-B100-B83B426FC4D9}" dt="2023-11-16T01:32:57.506" v="432" actId="14100"/>
          <ac:picMkLst>
            <pc:docMk/>
            <pc:sldMk cId="1043667424" sldId="1182"/>
            <ac:picMk id="3" creationId="{1822D765-1F82-CC89-0E1D-A129271263FF}"/>
          </ac:picMkLst>
        </pc:picChg>
        <pc:picChg chg="add mod">
          <ac:chgData name="Tony M P" userId="ae1e3ab533ed63fd" providerId="LiveId" clId="{3330D3AF-7650-4B01-B100-B83B426FC4D9}" dt="2023-11-16T01:31:59.540" v="426" actId="1076"/>
          <ac:picMkLst>
            <pc:docMk/>
            <pc:sldMk cId="1043667424" sldId="1182"/>
            <ac:picMk id="4" creationId="{5C02553D-A492-3624-5751-EC079423DE84}"/>
          </ac:picMkLst>
        </pc:picChg>
        <pc:picChg chg="add mod">
          <ac:chgData name="Tony M P" userId="ae1e3ab533ed63fd" providerId="LiveId" clId="{3330D3AF-7650-4B01-B100-B83B426FC4D9}" dt="2023-11-16T01:32:17.207" v="428" actId="1076"/>
          <ac:picMkLst>
            <pc:docMk/>
            <pc:sldMk cId="1043667424" sldId="1182"/>
            <ac:picMk id="5" creationId="{1E4356C3-266A-6306-1EA0-665098C23FF5}"/>
          </ac:picMkLst>
        </pc:picChg>
        <pc:picChg chg="add mod">
          <ac:chgData name="Tony M P" userId="ae1e3ab533ed63fd" providerId="LiveId" clId="{3330D3AF-7650-4B01-B100-B83B426FC4D9}" dt="2023-11-16T01:32:38.292" v="431" actId="14100"/>
          <ac:picMkLst>
            <pc:docMk/>
            <pc:sldMk cId="1043667424" sldId="1182"/>
            <ac:picMk id="6" creationId="{D70956F7-2A71-61C1-BD5C-493612271CCE}"/>
          </ac:picMkLst>
        </pc:picChg>
      </pc:sldChg>
      <pc:sldChg chg="modSp del mod">
        <pc:chgData name="Tony M P" userId="ae1e3ab533ed63fd" providerId="LiveId" clId="{3330D3AF-7650-4B01-B100-B83B426FC4D9}" dt="2023-11-16T01:36:43.415" v="439" actId="47"/>
        <pc:sldMkLst>
          <pc:docMk/>
          <pc:sldMk cId="3862257142" sldId="1183"/>
        </pc:sldMkLst>
        <pc:picChg chg="mod">
          <ac:chgData name="Tony M P" userId="ae1e3ab533ed63fd" providerId="LiveId" clId="{3330D3AF-7650-4B01-B100-B83B426FC4D9}" dt="2023-11-16T01:07:18.656" v="335" actId="14100"/>
          <ac:picMkLst>
            <pc:docMk/>
            <pc:sldMk cId="3862257142" sldId="1183"/>
            <ac:picMk id="8" creationId="{3728BC3A-E0D6-0226-F417-62C5E4C0F302}"/>
          </ac:picMkLst>
        </pc:picChg>
        <pc:picChg chg="mod">
          <ac:chgData name="Tony M P" userId="ae1e3ab533ed63fd" providerId="LiveId" clId="{3330D3AF-7650-4B01-B100-B83B426FC4D9}" dt="2023-11-16T01:07:11.074" v="334" actId="14100"/>
          <ac:picMkLst>
            <pc:docMk/>
            <pc:sldMk cId="3862257142" sldId="1183"/>
            <ac:picMk id="10" creationId="{FB15611E-F1C6-0927-C7D6-1BD460337F4F}"/>
          </ac:picMkLst>
        </pc:picChg>
        <pc:picChg chg="mod">
          <ac:chgData name="Tony M P" userId="ae1e3ab533ed63fd" providerId="LiveId" clId="{3330D3AF-7650-4B01-B100-B83B426FC4D9}" dt="2023-11-16T01:07:26.451" v="337" actId="14100"/>
          <ac:picMkLst>
            <pc:docMk/>
            <pc:sldMk cId="3862257142" sldId="1183"/>
            <ac:picMk id="12" creationId="{641030F2-F7E8-F73D-4C55-60F68C6AC1C8}"/>
          </ac:picMkLst>
        </pc:picChg>
      </pc:sldChg>
      <pc:sldChg chg="modSp del mod">
        <pc:chgData name="Tony M P" userId="ae1e3ab533ed63fd" providerId="LiveId" clId="{3330D3AF-7650-4B01-B100-B83B426FC4D9}" dt="2023-11-16T01:35:46.106" v="437" actId="47"/>
        <pc:sldMkLst>
          <pc:docMk/>
          <pc:sldMk cId="2748827125" sldId="1184"/>
        </pc:sldMkLst>
        <pc:picChg chg="mod">
          <ac:chgData name="Tony M P" userId="ae1e3ab533ed63fd" providerId="LiveId" clId="{3330D3AF-7650-4B01-B100-B83B426FC4D9}" dt="2023-11-16T01:34:25.194" v="436" actId="14100"/>
          <ac:picMkLst>
            <pc:docMk/>
            <pc:sldMk cId="2748827125" sldId="1184"/>
            <ac:picMk id="5" creationId="{C6A1BBE1-6AB9-1CEA-6F65-270A43030C97}"/>
          </ac:picMkLst>
        </pc:picChg>
        <pc:picChg chg="mod">
          <ac:chgData name="Tony M P" userId="ae1e3ab533ed63fd" providerId="LiveId" clId="{3330D3AF-7650-4B01-B100-B83B426FC4D9}" dt="2023-11-16T01:34:22.304" v="435" actId="14100"/>
          <ac:picMkLst>
            <pc:docMk/>
            <pc:sldMk cId="2748827125" sldId="1184"/>
            <ac:picMk id="7" creationId="{824CC908-90EB-7BDE-41E6-3F179BD8210E}"/>
          </ac:picMkLst>
        </pc:picChg>
      </pc:sldChg>
      <pc:sldChg chg="modSp del mod">
        <pc:chgData name="Tony M P" userId="ae1e3ab533ed63fd" providerId="LiveId" clId="{3330D3AF-7650-4B01-B100-B83B426FC4D9}" dt="2023-11-16T01:36:44.243" v="440" actId="47"/>
        <pc:sldMkLst>
          <pc:docMk/>
          <pc:sldMk cId="1968641104" sldId="1185"/>
        </pc:sldMkLst>
        <pc:picChg chg="mod">
          <ac:chgData name="Tony M P" userId="ae1e3ab533ed63fd" providerId="LiveId" clId="{3330D3AF-7650-4B01-B100-B83B426FC4D9}" dt="2023-11-16T01:35:54.720" v="438" actId="14100"/>
          <ac:picMkLst>
            <pc:docMk/>
            <pc:sldMk cId="1968641104" sldId="1185"/>
            <ac:picMk id="11" creationId="{447576D5-765A-8264-9FAA-818D61622B52}"/>
          </ac:picMkLst>
        </pc:picChg>
      </pc:sldChg>
      <pc:sldChg chg="modSp mod modAnim">
        <pc:chgData name="Tony M P" userId="ae1e3ab533ed63fd" providerId="LiveId" clId="{3330D3AF-7650-4B01-B100-B83B426FC4D9}" dt="2023-11-15T01:22:53.559" v="315"/>
        <pc:sldMkLst>
          <pc:docMk/>
          <pc:sldMk cId="482173790" sldId="1186"/>
        </pc:sldMkLst>
        <pc:spChg chg="mod">
          <ac:chgData name="Tony M P" userId="ae1e3ab533ed63fd" providerId="LiveId" clId="{3330D3AF-7650-4B01-B100-B83B426FC4D9}" dt="2023-11-15T01:18:49.205" v="140" actId="20577"/>
          <ac:spMkLst>
            <pc:docMk/>
            <pc:sldMk cId="482173790" sldId="1186"/>
            <ac:spMk id="2" creationId="{4BC799D2-5201-4330-9C8D-74D2FCE087A1}"/>
          </ac:spMkLst>
        </pc:spChg>
        <pc:spChg chg="mod">
          <ac:chgData name="Tony M P" userId="ae1e3ab533ed63fd" providerId="LiveId" clId="{3330D3AF-7650-4B01-B100-B83B426FC4D9}" dt="2023-11-15T01:22:53.559" v="315"/>
          <ac:spMkLst>
            <pc:docMk/>
            <pc:sldMk cId="482173790" sldId="1186"/>
            <ac:spMk id="3" creationId="{1A0D75AF-4551-4813-824E-06D972287983}"/>
          </ac:spMkLst>
        </pc:spChg>
      </pc:sldChg>
      <pc:sldChg chg="add del">
        <pc:chgData name="Tony M P" userId="ae1e3ab533ed63fd" providerId="LiveId" clId="{3330D3AF-7650-4B01-B100-B83B426FC4D9}" dt="2023-11-15T01:19:16.096" v="142" actId="47"/>
        <pc:sldMkLst>
          <pc:docMk/>
          <pc:sldMk cId="2731555102" sldId="1187"/>
        </pc:sldMkLst>
      </pc:sldChg>
      <pc:sldChg chg="addSp delSp modSp mod">
        <pc:chgData name="Tony M P" userId="ae1e3ab533ed63fd" providerId="LiveId" clId="{3330D3AF-7650-4B01-B100-B83B426FC4D9}" dt="2023-11-16T01:50:17.508" v="464" actId="20577"/>
        <pc:sldMkLst>
          <pc:docMk/>
          <pc:sldMk cId="1088839035" sldId="1189"/>
        </pc:sldMkLst>
        <pc:spChg chg="mod">
          <ac:chgData name="Tony M P" userId="ae1e3ab533ed63fd" providerId="LiveId" clId="{3330D3AF-7650-4B01-B100-B83B426FC4D9}" dt="2023-11-16T01:50:17.508" v="464" actId="20577"/>
          <ac:spMkLst>
            <pc:docMk/>
            <pc:sldMk cId="1088839035" sldId="1189"/>
            <ac:spMk id="2" creationId="{4BC799D2-5201-4330-9C8D-74D2FCE087A1}"/>
          </ac:spMkLst>
        </pc:spChg>
        <pc:picChg chg="add mod">
          <ac:chgData name="Tony M P" userId="ae1e3ab533ed63fd" providerId="LiveId" clId="{3330D3AF-7650-4B01-B100-B83B426FC4D9}" dt="2023-11-16T01:50:05.655" v="458" actId="14100"/>
          <ac:picMkLst>
            <pc:docMk/>
            <pc:sldMk cId="1088839035" sldId="1189"/>
            <ac:picMk id="5" creationId="{8877AAFA-BD36-C64A-1729-25F08EB0ACCB}"/>
          </ac:picMkLst>
        </pc:picChg>
        <pc:picChg chg="del">
          <ac:chgData name="Tony M P" userId="ae1e3ab533ed63fd" providerId="LiveId" clId="{3330D3AF-7650-4B01-B100-B83B426FC4D9}" dt="2023-11-16T01:49:32.552" v="455" actId="478"/>
          <ac:picMkLst>
            <pc:docMk/>
            <pc:sldMk cId="1088839035" sldId="1189"/>
            <ac:picMk id="7" creationId="{DECBD5C4-3ABD-6171-5EA4-8A9784421F62}"/>
          </ac:picMkLst>
        </pc:picChg>
      </pc:sldChg>
      <pc:sldChg chg="del">
        <pc:chgData name="Tony M P" userId="ae1e3ab533ed63fd" providerId="LiveId" clId="{3330D3AF-7650-4B01-B100-B83B426FC4D9}" dt="2023-11-16T01:52:35.271" v="465" actId="47"/>
        <pc:sldMkLst>
          <pc:docMk/>
          <pc:sldMk cId="66361735" sldId="1190"/>
        </pc:sldMkLst>
      </pc:sldChg>
      <pc:sldChg chg="del">
        <pc:chgData name="Tony M P" userId="ae1e3ab533ed63fd" providerId="LiveId" clId="{3330D3AF-7650-4B01-B100-B83B426FC4D9}" dt="2023-11-16T01:56:45.937" v="466" actId="47"/>
        <pc:sldMkLst>
          <pc:docMk/>
          <pc:sldMk cId="915019141" sldId="1201"/>
        </pc:sldMkLst>
      </pc:sldChg>
      <pc:sldChg chg="modSp mod">
        <pc:chgData name="Tony M P" userId="ae1e3ab533ed63fd" providerId="LiveId" clId="{3330D3AF-7650-4B01-B100-B83B426FC4D9}" dt="2023-11-16T02:13:23.806" v="479" actId="20577"/>
        <pc:sldMkLst>
          <pc:docMk/>
          <pc:sldMk cId="1443576958" sldId="1602"/>
        </pc:sldMkLst>
        <pc:spChg chg="mod">
          <ac:chgData name="Tony M P" userId="ae1e3ab533ed63fd" providerId="LiveId" clId="{3330D3AF-7650-4B01-B100-B83B426FC4D9}" dt="2023-11-16T02:13:23.806" v="479" actId="20577"/>
          <ac:spMkLst>
            <pc:docMk/>
            <pc:sldMk cId="1443576958" sldId="1602"/>
            <ac:spMk id="3" creationId="{00000000-0000-0000-0000-000000000000}"/>
          </ac:spMkLst>
        </pc:spChg>
      </pc:sldChg>
    </pc:docChg>
  </pc:docChgLst>
  <pc:docChgLst>
    <pc:chgData name="Tony M P" userId="ae1e3ab533ed63fd" providerId="LiveId" clId="{37909BD4-7748-4B36-BA7A-F9F3C9E8C7CB}"/>
    <pc:docChg chg="custSel delSld modSld">
      <pc:chgData name="Tony M P" userId="ae1e3ab533ed63fd" providerId="LiveId" clId="{37909BD4-7748-4B36-BA7A-F9F3C9E8C7CB}" dt="2022-11-09T12:15:44.206" v="508" actId="47"/>
      <pc:docMkLst>
        <pc:docMk/>
      </pc:docMkLst>
      <pc:sldChg chg="del">
        <pc:chgData name="Tony M P" userId="ae1e3ab533ed63fd" providerId="LiveId" clId="{37909BD4-7748-4B36-BA7A-F9F3C9E8C7CB}" dt="2022-11-07T12:43:55.695" v="61" actId="47"/>
        <pc:sldMkLst>
          <pc:docMk/>
          <pc:sldMk cId="4287993317" sldId="388"/>
        </pc:sldMkLst>
      </pc:sldChg>
      <pc:sldChg chg="del">
        <pc:chgData name="Tony M P" userId="ae1e3ab533ed63fd" providerId="LiveId" clId="{37909BD4-7748-4B36-BA7A-F9F3C9E8C7CB}" dt="2022-11-07T12:43:55.445" v="60" actId="47"/>
        <pc:sldMkLst>
          <pc:docMk/>
          <pc:sldMk cId="161923043" sldId="476"/>
        </pc:sldMkLst>
      </pc:sldChg>
      <pc:sldChg chg="del">
        <pc:chgData name="Tony M P" userId="ae1e3ab533ed63fd" providerId="LiveId" clId="{37909BD4-7748-4B36-BA7A-F9F3C9E8C7CB}" dt="2022-11-07T12:43:54.664" v="59" actId="47"/>
        <pc:sldMkLst>
          <pc:docMk/>
          <pc:sldMk cId="3696945875" sldId="480"/>
        </pc:sldMkLst>
      </pc:sldChg>
      <pc:sldChg chg="del">
        <pc:chgData name="Tony M P" userId="ae1e3ab533ed63fd" providerId="LiveId" clId="{37909BD4-7748-4B36-BA7A-F9F3C9E8C7CB}" dt="2022-11-07T12:44:02.944" v="86" actId="47"/>
        <pc:sldMkLst>
          <pc:docMk/>
          <pc:sldMk cId="2557385708" sldId="485"/>
        </pc:sldMkLst>
      </pc:sldChg>
      <pc:sldChg chg="del">
        <pc:chgData name="Tony M P" userId="ae1e3ab533ed63fd" providerId="LiveId" clId="{37909BD4-7748-4B36-BA7A-F9F3C9E8C7CB}" dt="2022-11-07T12:44:03.240" v="87" actId="47"/>
        <pc:sldMkLst>
          <pc:docMk/>
          <pc:sldMk cId="3344786165" sldId="486"/>
        </pc:sldMkLst>
      </pc:sldChg>
      <pc:sldChg chg="del">
        <pc:chgData name="Tony M P" userId="ae1e3ab533ed63fd" providerId="LiveId" clId="{37909BD4-7748-4B36-BA7A-F9F3C9E8C7CB}" dt="2022-11-07T12:44:04.037" v="88" actId="47"/>
        <pc:sldMkLst>
          <pc:docMk/>
          <pc:sldMk cId="1735358277" sldId="491"/>
        </pc:sldMkLst>
      </pc:sldChg>
      <pc:sldChg chg="del">
        <pc:chgData name="Tony M P" userId="ae1e3ab533ed63fd" providerId="LiveId" clId="{37909BD4-7748-4B36-BA7A-F9F3C9E8C7CB}" dt="2022-11-07T12:44:05.896" v="95" actId="47"/>
        <pc:sldMkLst>
          <pc:docMk/>
          <pc:sldMk cId="1115678649" sldId="492"/>
        </pc:sldMkLst>
      </pc:sldChg>
      <pc:sldChg chg="del">
        <pc:chgData name="Tony M P" userId="ae1e3ab533ed63fd" providerId="LiveId" clId="{37909BD4-7748-4B36-BA7A-F9F3C9E8C7CB}" dt="2022-11-07T12:44:06.193" v="96" actId="47"/>
        <pc:sldMkLst>
          <pc:docMk/>
          <pc:sldMk cId="2141236672" sldId="493"/>
        </pc:sldMkLst>
      </pc:sldChg>
      <pc:sldChg chg="del">
        <pc:chgData name="Tony M P" userId="ae1e3ab533ed63fd" providerId="LiveId" clId="{37909BD4-7748-4B36-BA7A-F9F3C9E8C7CB}" dt="2022-11-07T12:44:06.552" v="97" actId="47"/>
        <pc:sldMkLst>
          <pc:docMk/>
          <pc:sldMk cId="401751294" sldId="494"/>
        </pc:sldMkLst>
      </pc:sldChg>
      <pc:sldChg chg="del">
        <pc:chgData name="Tony M P" userId="ae1e3ab533ed63fd" providerId="LiveId" clId="{37909BD4-7748-4B36-BA7A-F9F3C9E8C7CB}" dt="2022-11-07T12:44:06.818" v="98" actId="47"/>
        <pc:sldMkLst>
          <pc:docMk/>
          <pc:sldMk cId="1629747022" sldId="495"/>
        </pc:sldMkLst>
      </pc:sldChg>
      <pc:sldChg chg="del">
        <pc:chgData name="Tony M P" userId="ae1e3ab533ed63fd" providerId="LiveId" clId="{37909BD4-7748-4B36-BA7A-F9F3C9E8C7CB}" dt="2022-11-07T12:44:07.083" v="99" actId="47"/>
        <pc:sldMkLst>
          <pc:docMk/>
          <pc:sldMk cId="2906627725" sldId="496"/>
        </pc:sldMkLst>
      </pc:sldChg>
      <pc:sldChg chg="del">
        <pc:chgData name="Tony M P" userId="ae1e3ab533ed63fd" providerId="LiveId" clId="{37909BD4-7748-4B36-BA7A-F9F3C9E8C7CB}" dt="2022-11-07T12:44:07.286" v="100" actId="47"/>
        <pc:sldMkLst>
          <pc:docMk/>
          <pc:sldMk cId="2203525493" sldId="497"/>
        </pc:sldMkLst>
      </pc:sldChg>
      <pc:sldChg chg="del">
        <pc:chgData name="Tony M P" userId="ae1e3ab533ed63fd" providerId="LiveId" clId="{37909BD4-7748-4B36-BA7A-F9F3C9E8C7CB}" dt="2022-11-07T12:44:07.521" v="101" actId="47"/>
        <pc:sldMkLst>
          <pc:docMk/>
          <pc:sldMk cId="2299337624" sldId="498"/>
        </pc:sldMkLst>
      </pc:sldChg>
      <pc:sldChg chg="del">
        <pc:chgData name="Tony M P" userId="ae1e3ab533ed63fd" providerId="LiveId" clId="{37909BD4-7748-4B36-BA7A-F9F3C9E8C7CB}" dt="2022-11-07T12:44:07.833" v="102" actId="47"/>
        <pc:sldMkLst>
          <pc:docMk/>
          <pc:sldMk cId="2322331330" sldId="499"/>
        </pc:sldMkLst>
      </pc:sldChg>
      <pc:sldChg chg="del">
        <pc:chgData name="Tony M P" userId="ae1e3ab533ed63fd" providerId="LiveId" clId="{37909BD4-7748-4B36-BA7A-F9F3C9E8C7CB}" dt="2022-11-07T12:44:08.161" v="103" actId="47"/>
        <pc:sldMkLst>
          <pc:docMk/>
          <pc:sldMk cId="4179270106" sldId="500"/>
        </pc:sldMkLst>
      </pc:sldChg>
      <pc:sldChg chg="del">
        <pc:chgData name="Tony M P" userId="ae1e3ab533ed63fd" providerId="LiveId" clId="{37909BD4-7748-4B36-BA7A-F9F3C9E8C7CB}" dt="2022-11-09T11:45:31.459" v="441" actId="2696"/>
        <pc:sldMkLst>
          <pc:docMk/>
          <pc:sldMk cId="2298963138" sldId="511"/>
        </pc:sldMkLst>
      </pc:sldChg>
      <pc:sldChg chg="del">
        <pc:chgData name="Tony M P" userId="ae1e3ab533ed63fd" providerId="LiveId" clId="{37909BD4-7748-4B36-BA7A-F9F3C9E8C7CB}" dt="2022-11-07T12:44:04.240" v="89" actId="47"/>
        <pc:sldMkLst>
          <pc:docMk/>
          <pc:sldMk cId="3024381252" sldId="538"/>
        </pc:sldMkLst>
      </pc:sldChg>
      <pc:sldChg chg="del">
        <pc:chgData name="Tony M P" userId="ae1e3ab533ed63fd" providerId="LiveId" clId="{37909BD4-7748-4B36-BA7A-F9F3C9E8C7CB}" dt="2022-11-07T12:44:04.521" v="90" actId="47"/>
        <pc:sldMkLst>
          <pc:docMk/>
          <pc:sldMk cId="1612629039" sldId="539"/>
        </pc:sldMkLst>
      </pc:sldChg>
      <pc:sldChg chg="del">
        <pc:chgData name="Tony M P" userId="ae1e3ab533ed63fd" providerId="LiveId" clId="{37909BD4-7748-4B36-BA7A-F9F3C9E8C7CB}" dt="2022-11-07T12:44:04.802" v="91" actId="47"/>
        <pc:sldMkLst>
          <pc:docMk/>
          <pc:sldMk cId="3345687176" sldId="540"/>
        </pc:sldMkLst>
      </pc:sldChg>
      <pc:sldChg chg="del">
        <pc:chgData name="Tony M P" userId="ae1e3ab533ed63fd" providerId="LiveId" clId="{37909BD4-7748-4B36-BA7A-F9F3C9E8C7CB}" dt="2022-11-07T12:43:49.056" v="54" actId="47"/>
        <pc:sldMkLst>
          <pc:docMk/>
          <pc:sldMk cId="1855939972" sldId="714"/>
        </pc:sldMkLst>
      </pc:sldChg>
      <pc:sldChg chg="del">
        <pc:chgData name="Tony M P" userId="ae1e3ab533ed63fd" providerId="LiveId" clId="{37909BD4-7748-4B36-BA7A-F9F3C9E8C7CB}" dt="2022-11-07T12:43:48.322" v="53" actId="47"/>
        <pc:sldMkLst>
          <pc:docMk/>
          <pc:sldMk cId="250500142" sldId="715"/>
        </pc:sldMkLst>
      </pc:sldChg>
      <pc:sldChg chg="modSp mod">
        <pc:chgData name="Tony M P" userId="ae1e3ab533ed63fd" providerId="LiveId" clId="{37909BD4-7748-4B36-BA7A-F9F3C9E8C7CB}" dt="2022-11-07T12:43:40.232" v="52" actId="20577"/>
        <pc:sldMkLst>
          <pc:docMk/>
          <pc:sldMk cId="1719205100" sldId="1030"/>
        </pc:sldMkLst>
        <pc:spChg chg="mod">
          <ac:chgData name="Tony M P" userId="ae1e3ab533ed63fd" providerId="LiveId" clId="{37909BD4-7748-4B36-BA7A-F9F3C9E8C7CB}" dt="2022-11-07T12:42:56.227" v="1" actId="20577"/>
          <ac:spMkLst>
            <pc:docMk/>
            <pc:sldMk cId="1719205100" sldId="1030"/>
            <ac:spMk id="2" creationId="{1DFC98B8-ED28-22D3-79A7-C88D0CF4E49C}"/>
          </ac:spMkLst>
        </pc:spChg>
        <pc:spChg chg="mod">
          <ac:chgData name="Tony M P" userId="ae1e3ab533ed63fd" providerId="LiveId" clId="{37909BD4-7748-4B36-BA7A-F9F3C9E8C7CB}" dt="2022-11-07T12:43:40.232" v="52" actId="20577"/>
          <ac:spMkLst>
            <pc:docMk/>
            <pc:sldMk cId="1719205100" sldId="1030"/>
            <ac:spMk id="5" creationId="{00000000-0000-0000-0000-000000000000}"/>
          </ac:spMkLst>
        </pc:spChg>
      </pc:sldChg>
      <pc:sldChg chg="del">
        <pc:chgData name="Tony M P" userId="ae1e3ab533ed63fd" providerId="LiveId" clId="{37909BD4-7748-4B36-BA7A-F9F3C9E8C7CB}" dt="2022-11-09T11:45:31.459" v="441" actId="2696"/>
        <pc:sldMkLst>
          <pc:docMk/>
          <pc:sldMk cId="3622447542" sldId="1052"/>
        </pc:sldMkLst>
      </pc:sldChg>
      <pc:sldChg chg="del">
        <pc:chgData name="Tony M P" userId="ae1e3ab533ed63fd" providerId="LiveId" clId="{37909BD4-7748-4B36-BA7A-F9F3C9E8C7CB}" dt="2022-11-07T12:43:58.179" v="71" actId="47"/>
        <pc:sldMkLst>
          <pc:docMk/>
          <pc:sldMk cId="1248274953" sldId="1053"/>
        </pc:sldMkLst>
      </pc:sldChg>
      <pc:sldChg chg="del">
        <pc:chgData name="Tony M P" userId="ae1e3ab533ed63fd" providerId="LiveId" clId="{37909BD4-7748-4B36-BA7A-F9F3C9E8C7CB}" dt="2022-11-07T12:43:57.945" v="70" actId="47"/>
        <pc:sldMkLst>
          <pc:docMk/>
          <pc:sldMk cId="3508164862" sldId="1054"/>
        </pc:sldMkLst>
      </pc:sldChg>
      <pc:sldChg chg="del">
        <pc:chgData name="Tony M P" userId="ae1e3ab533ed63fd" providerId="LiveId" clId="{37909BD4-7748-4B36-BA7A-F9F3C9E8C7CB}" dt="2022-11-07T12:43:57.664" v="69" actId="47"/>
        <pc:sldMkLst>
          <pc:docMk/>
          <pc:sldMk cId="2999382945" sldId="1055"/>
        </pc:sldMkLst>
      </pc:sldChg>
      <pc:sldChg chg="del">
        <pc:chgData name="Tony M P" userId="ae1e3ab533ed63fd" providerId="LiveId" clId="{37909BD4-7748-4B36-BA7A-F9F3C9E8C7CB}" dt="2022-11-07T12:43:57.398" v="68" actId="47"/>
        <pc:sldMkLst>
          <pc:docMk/>
          <pc:sldMk cId="540317741" sldId="1056"/>
        </pc:sldMkLst>
      </pc:sldChg>
      <pc:sldChg chg="del">
        <pc:chgData name="Tony M P" userId="ae1e3ab533ed63fd" providerId="LiveId" clId="{37909BD4-7748-4B36-BA7A-F9F3C9E8C7CB}" dt="2022-11-07T12:43:57.179" v="67" actId="47"/>
        <pc:sldMkLst>
          <pc:docMk/>
          <pc:sldMk cId="1426395926" sldId="1057"/>
        </pc:sldMkLst>
      </pc:sldChg>
      <pc:sldChg chg="del">
        <pc:chgData name="Tony M P" userId="ae1e3ab533ed63fd" providerId="LiveId" clId="{37909BD4-7748-4B36-BA7A-F9F3C9E8C7CB}" dt="2022-11-07T12:43:56.929" v="66" actId="47"/>
        <pc:sldMkLst>
          <pc:docMk/>
          <pc:sldMk cId="1234242492" sldId="1058"/>
        </pc:sldMkLst>
      </pc:sldChg>
      <pc:sldChg chg="del">
        <pc:chgData name="Tony M P" userId="ae1e3ab533ed63fd" providerId="LiveId" clId="{37909BD4-7748-4B36-BA7A-F9F3C9E8C7CB}" dt="2022-11-07T12:43:56.695" v="65" actId="47"/>
        <pc:sldMkLst>
          <pc:docMk/>
          <pc:sldMk cId="3662510088" sldId="1059"/>
        </pc:sldMkLst>
      </pc:sldChg>
      <pc:sldChg chg="del">
        <pc:chgData name="Tony M P" userId="ae1e3ab533ed63fd" providerId="LiveId" clId="{37909BD4-7748-4B36-BA7A-F9F3C9E8C7CB}" dt="2022-11-07T12:43:56.445" v="64" actId="47"/>
        <pc:sldMkLst>
          <pc:docMk/>
          <pc:sldMk cId="3443948513" sldId="1060"/>
        </pc:sldMkLst>
      </pc:sldChg>
      <pc:sldChg chg="del">
        <pc:chgData name="Tony M P" userId="ae1e3ab533ed63fd" providerId="LiveId" clId="{37909BD4-7748-4B36-BA7A-F9F3C9E8C7CB}" dt="2022-11-07T12:43:56.226" v="63" actId="47"/>
        <pc:sldMkLst>
          <pc:docMk/>
          <pc:sldMk cId="1347182597" sldId="1061"/>
        </pc:sldMkLst>
      </pc:sldChg>
      <pc:sldChg chg="del">
        <pc:chgData name="Tony M P" userId="ae1e3ab533ed63fd" providerId="LiveId" clId="{37909BD4-7748-4B36-BA7A-F9F3C9E8C7CB}" dt="2022-11-07T12:43:55.930" v="62" actId="47"/>
        <pc:sldMkLst>
          <pc:docMk/>
          <pc:sldMk cId="1831919672" sldId="1062"/>
        </pc:sldMkLst>
      </pc:sldChg>
      <pc:sldChg chg="del">
        <pc:chgData name="Tony M P" userId="ae1e3ab533ed63fd" providerId="LiveId" clId="{37909BD4-7748-4B36-BA7A-F9F3C9E8C7CB}" dt="2022-11-07T12:43:58.413" v="72" actId="47"/>
        <pc:sldMkLst>
          <pc:docMk/>
          <pc:sldMk cId="510659032" sldId="1063"/>
        </pc:sldMkLst>
      </pc:sldChg>
      <pc:sldChg chg="del">
        <pc:chgData name="Tony M P" userId="ae1e3ab533ed63fd" providerId="LiveId" clId="{37909BD4-7748-4B36-BA7A-F9F3C9E8C7CB}" dt="2022-11-07T12:43:59.897" v="74" actId="47"/>
        <pc:sldMkLst>
          <pc:docMk/>
          <pc:sldMk cId="961360128" sldId="1064"/>
        </pc:sldMkLst>
      </pc:sldChg>
      <pc:sldChg chg="del">
        <pc:chgData name="Tony M P" userId="ae1e3ab533ed63fd" providerId="LiveId" clId="{37909BD4-7748-4B36-BA7A-F9F3C9E8C7CB}" dt="2022-11-07T12:43:58.648" v="73" actId="47"/>
        <pc:sldMkLst>
          <pc:docMk/>
          <pc:sldMk cId="1732108992" sldId="1065"/>
        </pc:sldMkLst>
      </pc:sldChg>
      <pc:sldChg chg="del">
        <pc:chgData name="Tony M P" userId="ae1e3ab533ed63fd" providerId="LiveId" clId="{37909BD4-7748-4B36-BA7A-F9F3C9E8C7CB}" dt="2022-11-07T12:44:00.147" v="75" actId="47"/>
        <pc:sldMkLst>
          <pc:docMk/>
          <pc:sldMk cId="2835146205" sldId="1066"/>
        </pc:sldMkLst>
      </pc:sldChg>
      <pc:sldChg chg="del">
        <pc:chgData name="Tony M P" userId="ae1e3ab533ed63fd" providerId="LiveId" clId="{37909BD4-7748-4B36-BA7A-F9F3C9E8C7CB}" dt="2022-11-07T12:44:00.350" v="76" actId="47"/>
        <pc:sldMkLst>
          <pc:docMk/>
          <pc:sldMk cId="1433680593" sldId="1067"/>
        </pc:sldMkLst>
      </pc:sldChg>
      <pc:sldChg chg="del">
        <pc:chgData name="Tony M P" userId="ae1e3ab533ed63fd" providerId="LiveId" clId="{37909BD4-7748-4B36-BA7A-F9F3C9E8C7CB}" dt="2022-11-07T12:44:00.616" v="77" actId="47"/>
        <pc:sldMkLst>
          <pc:docMk/>
          <pc:sldMk cId="2634232575" sldId="1068"/>
        </pc:sldMkLst>
      </pc:sldChg>
      <pc:sldChg chg="del">
        <pc:chgData name="Tony M P" userId="ae1e3ab533ed63fd" providerId="LiveId" clId="{37909BD4-7748-4B36-BA7A-F9F3C9E8C7CB}" dt="2022-11-07T12:44:00.835" v="78" actId="47"/>
        <pc:sldMkLst>
          <pc:docMk/>
          <pc:sldMk cId="3577048785" sldId="1069"/>
        </pc:sldMkLst>
      </pc:sldChg>
      <pc:sldChg chg="del">
        <pc:chgData name="Tony M P" userId="ae1e3ab533ed63fd" providerId="LiveId" clId="{37909BD4-7748-4B36-BA7A-F9F3C9E8C7CB}" dt="2022-11-07T12:44:01.116" v="79" actId="47"/>
        <pc:sldMkLst>
          <pc:docMk/>
          <pc:sldMk cId="2919112221" sldId="1070"/>
        </pc:sldMkLst>
      </pc:sldChg>
      <pc:sldChg chg="del">
        <pc:chgData name="Tony M P" userId="ae1e3ab533ed63fd" providerId="LiveId" clId="{37909BD4-7748-4B36-BA7A-F9F3C9E8C7CB}" dt="2022-11-07T12:44:01.350" v="80" actId="47"/>
        <pc:sldMkLst>
          <pc:docMk/>
          <pc:sldMk cId="231968693" sldId="1071"/>
        </pc:sldMkLst>
      </pc:sldChg>
      <pc:sldChg chg="del">
        <pc:chgData name="Tony M P" userId="ae1e3ab533ed63fd" providerId="LiveId" clId="{37909BD4-7748-4B36-BA7A-F9F3C9E8C7CB}" dt="2022-11-07T12:44:01.616" v="81" actId="47"/>
        <pc:sldMkLst>
          <pc:docMk/>
          <pc:sldMk cId="3403934912" sldId="1072"/>
        </pc:sldMkLst>
      </pc:sldChg>
      <pc:sldChg chg="del">
        <pc:chgData name="Tony M P" userId="ae1e3ab533ed63fd" providerId="LiveId" clId="{37909BD4-7748-4B36-BA7A-F9F3C9E8C7CB}" dt="2022-11-07T12:44:01.819" v="82" actId="47"/>
        <pc:sldMkLst>
          <pc:docMk/>
          <pc:sldMk cId="1379511491" sldId="1073"/>
        </pc:sldMkLst>
      </pc:sldChg>
      <pc:sldChg chg="del">
        <pc:chgData name="Tony M P" userId="ae1e3ab533ed63fd" providerId="LiveId" clId="{37909BD4-7748-4B36-BA7A-F9F3C9E8C7CB}" dt="2022-11-07T12:44:02.006" v="83" actId="47"/>
        <pc:sldMkLst>
          <pc:docMk/>
          <pc:sldMk cId="958121459" sldId="1074"/>
        </pc:sldMkLst>
      </pc:sldChg>
      <pc:sldChg chg="del">
        <pc:chgData name="Tony M P" userId="ae1e3ab533ed63fd" providerId="LiveId" clId="{37909BD4-7748-4B36-BA7A-F9F3C9E8C7CB}" dt="2022-11-07T12:44:02.491" v="84" actId="47"/>
        <pc:sldMkLst>
          <pc:docMk/>
          <pc:sldMk cId="3942552751" sldId="1075"/>
        </pc:sldMkLst>
      </pc:sldChg>
      <pc:sldChg chg="del">
        <pc:chgData name="Tony M P" userId="ae1e3ab533ed63fd" providerId="LiveId" clId="{37909BD4-7748-4B36-BA7A-F9F3C9E8C7CB}" dt="2022-11-07T12:44:02.725" v="85" actId="47"/>
        <pc:sldMkLst>
          <pc:docMk/>
          <pc:sldMk cId="4004324215" sldId="1076"/>
        </pc:sldMkLst>
      </pc:sldChg>
      <pc:sldChg chg="del">
        <pc:chgData name="Tony M P" userId="ae1e3ab533ed63fd" providerId="LiveId" clId="{37909BD4-7748-4B36-BA7A-F9F3C9E8C7CB}" dt="2022-11-07T12:43:52.290" v="58" actId="47"/>
        <pc:sldMkLst>
          <pc:docMk/>
          <pc:sldMk cId="1776289677" sldId="1077"/>
        </pc:sldMkLst>
      </pc:sldChg>
      <pc:sldChg chg="modSp">
        <pc:chgData name="Tony M P" userId="ae1e3ab533ed63fd" providerId="LiveId" clId="{37909BD4-7748-4B36-BA7A-F9F3C9E8C7CB}" dt="2022-11-09T11:57:37.962" v="455" actId="207"/>
        <pc:sldMkLst>
          <pc:docMk/>
          <pc:sldMk cId="405079545" sldId="1103"/>
        </pc:sldMkLst>
        <pc:spChg chg="mod">
          <ac:chgData name="Tony M P" userId="ae1e3ab533ed63fd" providerId="LiveId" clId="{37909BD4-7748-4B36-BA7A-F9F3C9E8C7CB}" dt="2022-11-09T11:57:37.962" v="455" actId="207"/>
          <ac:spMkLst>
            <pc:docMk/>
            <pc:sldMk cId="405079545" sldId="1103"/>
            <ac:spMk id="3" creationId="{1A0D75AF-4551-4813-824E-06D972287983}"/>
          </ac:spMkLst>
        </pc:spChg>
      </pc:sldChg>
      <pc:sldChg chg="del">
        <pc:chgData name="Tony M P" userId="ae1e3ab533ed63fd" providerId="LiveId" clId="{37909BD4-7748-4B36-BA7A-F9F3C9E8C7CB}" dt="2022-11-09T11:42:50.072" v="431" actId="47"/>
        <pc:sldMkLst>
          <pc:docMk/>
          <pc:sldMk cId="3976141457" sldId="1106"/>
        </pc:sldMkLst>
      </pc:sldChg>
      <pc:sldChg chg="modSp mod">
        <pc:chgData name="Tony M P" userId="ae1e3ab533ed63fd" providerId="LiveId" clId="{37909BD4-7748-4B36-BA7A-F9F3C9E8C7CB}" dt="2022-11-09T11:36:11.014" v="429" actId="20577"/>
        <pc:sldMkLst>
          <pc:docMk/>
          <pc:sldMk cId="1823133845" sldId="1109"/>
        </pc:sldMkLst>
        <pc:spChg chg="mod">
          <ac:chgData name="Tony M P" userId="ae1e3ab533ed63fd" providerId="LiveId" clId="{37909BD4-7748-4B36-BA7A-F9F3C9E8C7CB}" dt="2022-11-09T11:36:11.014" v="429" actId="20577"/>
          <ac:spMkLst>
            <pc:docMk/>
            <pc:sldMk cId="1823133845" sldId="1109"/>
            <ac:spMk id="3" creationId="{00000000-0000-0000-0000-000000000000}"/>
          </ac:spMkLst>
        </pc:spChg>
      </pc:sldChg>
      <pc:sldChg chg="del">
        <pc:chgData name="Tony M P" userId="ae1e3ab533ed63fd" providerId="LiveId" clId="{37909BD4-7748-4B36-BA7A-F9F3C9E8C7CB}" dt="2022-11-09T11:44:01.337" v="433" actId="47"/>
        <pc:sldMkLst>
          <pc:docMk/>
          <pc:sldMk cId="2895087489" sldId="1111"/>
        </pc:sldMkLst>
      </pc:sldChg>
      <pc:sldChg chg="del">
        <pc:chgData name="Tony M P" userId="ae1e3ab533ed63fd" providerId="LiveId" clId="{37909BD4-7748-4B36-BA7A-F9F3C9E8C7CB}" dt="2022-11-07T12:45:55.610" v="108" actId="47"/>
        <pc:sldMkLst>
          <pc:docMk/>
          <pc:sldMk cId="3186427530" sldId="1113"/>
        </pc:sldMkLst>
      </pc:sldChg>
      <pc:sldChg chg="del">
        <pc:chgData name="Tony M P" userId="ae1e3ab533ed63fd" providerId="LiveId" clId="{37909BD4-7748-4B36-BA7A-F9F3C9E8C7CB}" dt="2022-11-09T11:42:29.176" v="430" actId="2696"/>
        <pc:sldMkLst>
          <pc:docMk/>
          <pc:sldMk cId="648716042" sldId="1127"/>
        </pc:sldMkLst>
      </pc:sldChg>
      <pc:sldChg chg="del">
        <pc:chgData name="Tony M P" userId="ae1e3ab533ed63fd" providerId="LiveId" clId="{37909BD4-7748-4B36-BA7A-F9F3C9E8C7CB}" dt="2022-11-09T11:43:45.877" v="432" actId="2696"/>
        <pc:sldMkLst>
          <pc:docMk/>
          <pc:sldMk cId="3557483372" sldId="1128"/>
        </pc:sldMkLst>
      </pc:sldChg>
      <pc:sldChg chg="addSp delSp modSp mod delAnim">
        <pc:chgData name="Tony M P" userId="ae1e3ab533ed63fd" providerId="LiveId" clId="{37909BD4-7748-4B36-BA7A-F9F3C9E8C7CB}" dt="2022-11-08T04:38:19.820" v="124" actId="20577"/>
        <pc:sldMkLst>
          <pc:docMk/>
          <pc:sldMk cId="516589543" sldId="1129"/>
        </pc:sldMkLst>
        <pc:spChg chg="mod">
          <ac:chgData name="Tony M P" userId="ae1e3ab533ed63fd" providerId="LiveId" clId="{37909BD4-7748-4B36-BA7A-F9F3C9E8C7CB}" dt="2022-11-08T04:38:19.820" v="124" actId="20577"/>
          <ac:spMkLst>
            <pc:docMk/>
            <pc:sldMk cId="516589543" sldId="1129"/>
            <ac:spMk id="2" creationId="{4BC799D2-5201-4330-9C8D-74D2FCE087A1}"/>
          </ac:spMkLst>
        </pc:spChg>
        <pc:spChg chg="del">
          <ac:chgData name="Tony M P" userId="ae1e3ab533ed63fd" providerId="LiveId" clId="{37909BD4-7748-4B36-BA7A-F9F3C9E8C7CB}" dt="2022-11-08T04:28:59.493" v="109" actId="478"/>
          <ac:spMkLst>
            <pc:docMk/>
            <pc:sldMk cId="516589543" sldId="1129"/>
            <ac:spMk id="3" creationId="{1A0D75AF-4551-4813-824E-06D972287983}"/>
          </ac:spMkLst>
        </pc:spChg>
        <pc:spChg chg="add del mod">
          <ac:chgData name="Tony M P" userId="ae1e3ab533ed63fd" providerId="LiveId" clId="{37909BD4-7748-4B36-BA7A-F9F3C9E8C7CB}" dt="2022-11-08T04:29:03.135" v="110" actId="478"/>
          <ac:spMkLst>
            <pc:docMk/>
            <pc:sldMk cId="516589543" sldId="1129"/>
            <ac:spMk id="6" creationId="{C99B72BD-D9DF-9641-9A07-A3EBD9E0676B}"/>
          </ac:spMkLst>
        </pc:spChg>
        <pc:picChg chg="add mod">
          <ac:chgData name="Tony M P" userId="ae1e3ab533ed63fd" providerId="LiveId" clId="{37909BD4-7748-4B36-BA7A-F9F3C9E8C7CB}" dt="2022-11-08T04:37:34.124" v="112" actId="1076"/>
          <ac:picMkLst>
            <pc:docMk/>
            <pc:sldMk cId="516589543" sldId="1129"/>
            <ac:picMk id="7" creationId="{3B974150-DB1C-C629-66B6-F327D84F6E72}"/>
          </ac:picMkLst>
        </pc:picChg>
      </pc:sldChg>
      <pc:sldChg chg="delSp modSp del mod">
        <pc:chgData name="Tony M P" userId="ae1e3ab533ed63fd" providerId="LiveId" clId="{37909BD4-7748-4B36-BA7A-F9F3C9E8C7CB}" dt="2022-11-09T11:44:56.611" v="439" actId="47"/>
        <pc:sldMkLst>
          <pc:docMk/>
          <pc:sldMk cId="3014071696" sldId="1130"/>
        </pc:sldMkLst>
        <pc:spChg chg="mod">
          <ac:chgData name="Tony M P" userId="ae1e3ab533ed63fd" providerId="LiveId" clId="{37909BD4-7748-4B36-BA7A-F9F3C9E8C7CB}" dt="2022-11-08T04:38:31.359" v="135" actId="20577"/>
          <ac:spMkLst>
            <pc:docMk/>
            <pc:sldMk cId="3014071696" sldId="1130"/>
            <ac:spMk id="2" creationId="{4BC799D2-5201-4330-9C8D-74D2FCE087A1}"/>
          </ac:spMkLst>
        </pc:spChg>
        <pc:picChg chg="del">
          <ac:chgData name="Tony M P" userId="ae1e3ab533ed63fd" providerId="LiveId" clId="{37909BD4-7748-4B36-BA7A-F9F3C9E8C7CB}" dt="2022-11-08T04:38:00.025" v="113" actId="478"/>
          <ac:picMkLst>
            <pc:docMk/>
            <pc:sldMk cId="3014071696" sldId="1130"/>
            <ac:picMk id="7" creationId="{3B974150-DB1C-C629-66B6-F327D84F6E72}"/>
          </ac:picMkLst>
        </pc:picChg>
      </pc:sldChg>
      <pc:sldChg chg="addSp modSp mod">
        <pc:chgData name="Tony M P" userId="ae1e3ab533ed63fd" providerId="LiveId" clId="{37909BD4-7748-4B36-BA7A-F9F3C9E8C7CB}" dt="2022-11-08T05:03:50.452" v="177" actId="1076"/>
        <pc:sldMkLst>
          <pc:docMk/>
          <pc:sldMk cId="1708362797" sldId="1131"/>
        </pc:sldMkLst>
        <pc:picChg chg="add mod">
          <ac:chgData name="Tony M P" userId="ae1e3ab533ed63fd" providerId="LiveId" clId="{37909BD4-7748-4B36-BA7A-F9F3C9E8C7CB}" dt="2022-11-08T05:03:50.452" v="177" actId="1076"/>
          <ac:picMkLst>
            <pc:docMk/>
            <pc:sldMk cId="1708362797" sldId="1131"/>
            <ac:picMk id="3" creationId="{3141C106-27C7-3382-E877-D2C70076766F}"/>
          </ac:picMkLst>
        </pc:picChg>
      </pc:sldChg>
      <pc:sldChg chg="addSp modSp mod">
        <pc:chgData name="Tony M P" userId="ae1e3ab533ed63fd" providerId="LiveId" clId="{37909BD4-7748-4B36-BA7A-F9F3C9E8C7CB}" dt="2022-11-08T05:02:47.953" v="175" actId="1076"/>
        <pc:sldMkLst>
          <pc:docMk/>
          <pc:sldMk cId="1672844672" sldId="1132"/>
        </pc:sldMkLst>
        <pc:picChg chg="add mod">
          <ac:chgData name="Tony M P" userId="ae1e3ab533ed63fd" providerId="LiveId" clId="{37909BD4-7748-4B36-BA7A-F9F3C9E8C7CB}" dt="2022-11-08T05:02:47.953" v="175" actId="1076"/>
          <ac:picMkLst>
            <pc:docMk/>
            <pc:sldMk cId="1672844672" sldId="1132"/>
            <ac:picMk id="3" creationId="{CEF8B469-55A2-2879-F710-9E2EA6F01760}"/>
          </ac:picMkLst>
        </pc:picChg>
      </pc:sldChg>
      <pc:sldChg chg="addSp modSp mod">
        <pc:chgData name="Tony M P" userId="ae1e3ab533ed63fd" providerId="LiveId" clId="{37909BD4-7748-4B36-BA7A-F9F3C9E8C7CB}" dt="2022-11-08T04:59:24.265" v="173" actId="14100"/>
        <pc:sldMkLst>
          <pc:docMk/>
          <pc:sldMk cId="1615114192" sldId="1133"/>
        </pc:sldMkLst>
        <pc:picChg chg="add mod">
          <ac:chgData name="Tony M P" userId="ae1e3ab533ed63fd" providerId="LiveId" clId="{37909BD4-7748-4B36-BA7A-F9F3C9E8C7CB}" dt="2022-11-08T04:59:24.265" v="173" actId="14100"/>
          <ac:picMkLst>
            <pc:docMk/>
            <pc:sldMk cId="1615114192" sldId="1133"/>
            <ac:picMk id="3" creationId="{0F194C03-AAB8-A7CE-1CD1-A324D459FDE3}"/>
          </ac:picMkLst>
        </pc:picChg>
      </pc:sldChg>
      <pc:sldChg chg="del">
        <pc:chgData name="Tony M P" userId="ae1e3ab533ed63fd" providerId="LiveId" clId="{37909BD4-7748-4B36-BA7A-F9F3C9E8C7CB}" dt="2022-11-07T12:43:50.556" v="55" actId="47"/>
        <pc:sldMkLst>
          <pc:docMk/>
          <pc:sldMk cId="2840653611" sldId="1134"/>
        </pc:sldMkLst>
      </pc:sldChg>
      <pc:sldChg chg="addSp modSp mod">
        <pc:chgData name="Tony M P" userId="ae1e3ab533ed63fd" providerId="LiveId" clId="{37909BD4-7748-4B36-BA7A-F9F3C9E8C7CB}" dt="2022-11-08T04:57:50.366" v="170" actId="14100"/>
        <pc:sldMkLst>
          <pc:docMk/>
          <pc:sldMk cId="3094632175" sldId="1134"/>
        </pc:sldMkLst>
        <pc:picChg chg="add mod">
          <ac:chgData name="Tony M P" userId="ae1e3ab533ed63fd" providerId="LiveId" clId="{37909BD4-7748-4B36-BA7A-F9F3C9E8C7CB}" dt="2022-11-08T04:57:50.366" v="170" actId="14100"/>
          <ac:picMkLst>
            <pc:docMk/>
            <pc:sldMk cId="3094632175" sldId="1134"/>
            <ac:picMk id="3" creationId="{5759B76A-346C-330A-2520-6B9674E731E1}"/>
          </ac:picMkLst>
        </pc:picChg>
      </pc:sldChg>
      <pc:sldChg chg="del">
        <pc:chgData name="Tony M P" userId="ae1e3ab533ed63fd" providerId="LiveId" clId="{37909BD4-7748-4B36-BA7A-F9F3C9E8C7CB}" dt="2022-11-07T12:43:50.806" v="56" actId="47"/>
        <pc:sldMkLst>
          <pc:docMk/>
          <pc:sldMk cId="245923254" sldId="1135"/>
        </pc:sldMkLst>
      </pc:sldChg>
      <pc:sldChg chg="addSp modSp mod">
        <pc:chgData name="Tony M P" userId="ae1e3ab533ed63fd" providerId="LiveId" clId="{37909BD4-7748-4B36-BA7A-F9F3C9E8C7CB}" dt="2022-11-08T04:56:13.338" v="166" actId="14100"/>
        <pc:sldMkLst>
          <pc:docMk/>
          <pc:sldMk cId="1797154468" sldId="1135"/>
        </pc:sldMkLst>
        <pc:picChg chg="add mod">
          <ac:chgData name="Tony M P" userId="ae1e3ab533ed63fd" providerId="LiveId" clId="{37909BD4-7748-4B36-BA7A-F9F3C9E8C7CB}" dt="2022-11-08T04:56:13.338" v="166" actId="14100"/>
          <ac:picMkLst>
            <pc:docMk/>
            <pc:sldMk cId="1797154468" sldId="1135"/>
            <ac:picMk id="3" creationId="{3D65E05E-B356-336F-FF36-AFE0AB47E0C0}"/>
          </ac:picMkLst>
        </pc:picChg>
      </pc:sldChg>
      <pc:sldChg chg="del">
        <pc:chgData name="Tony M P" userId="ae1e3ab533ed63fd" providerId="LiveId" clId="{37909BD4-7748-4B36-BA7A-F9F3C9E8C7CB}" dt="2022-11-07T12:43:51.025" v="57" actId="47"/>
        <pc:sldMkLst>
          <pc:docMk/>
          <pc:sldMk cId="151487668" sldId="1136"/>
        </pc:sldMkLst>
      </pc:sldChg>
      <pc:sldChg chg="addSp modSp mod">
        <pc:chgData name="Tony M P" userId="ae1e3ab533ed63fd" providerId="LiveId" clId="{37909BD4-7748-4B36-BA7A-F9F3C9E8C7CB}" dt="2022-11-08T04:52:33.722" v="163" actId="20577"/>
        <pc:sldMkLst>
          <pc:docMk/>
          <pc:sldMk cId="439836032" sldId="1136"/>
        </pc:sldMkLst>
        <pc:spChg chg="mod">
          <ac:chgData name="Tony M P" userId="ae1e3ab533ed63fd" providerId="LiveId" clId="{37909BD4-7748-4B36-BA7A-F9F3C9E8C7CB}" dt="2022-11-08T04:52:33.722" v="163" actId="20577"/>
          <ac:spMkLst>
            <pc:docMk/>
            <pc:sldMk cId="439836032" sldId="1136"/>
            <ac:spMk id="2" creationId="{4BC799D2-5201-4330-9C8D-74D2FCE087A1}"/>
          </ac:spMkLst>
        </pc:spChg>
        <pc:picChg chg="add">
          <ac:chgData name="Tony M P" userId="ae1e3ab533ed63fd" providerId="LiveId" clId="{37909BD4-7748-4B36-BA7A-F9F3C9E8C7CB}" dt="2022-11-08T04:52:24.835" v="147"/>
          <ac:picMkLst>
            <pc:docMk/>
            <pc:sldMk cId="439836032" sldId="1136"/>
            <ac:picMk id="3" creationId="{D4E2FBF7-C6E6-47D0-9597-B8BB72C74A1B}"/>
          </ac:picMkLst>
        </pc:picChg>
      </pc:sldChg>
      <pc:sldChg chg="addSp modSp mod">
        <pc:chgData name="Tony M P" userId="ae1e3ab533ed63fd" providerId="LiveId" clId="{37909BD4-7748-4B36-BA7A-F9F3C9E8C7CB}" dt="2022-11-08T04:43:55.193" v="146" actId="1076"/>
        <pc:sldMkLst>
          <pc:docMk/>
          <pc:sldMk cId="700466715" sldId="1137"/>
        </pc:sldMkLst>
        <pc:spChg chg="mod">
          <ac:chgData name="Tony M P" userId="ae1e3ab533ed63fd" providerId="LiveId" clId="{37909BD4-7748-4B36-BA7A-F9F3C9E8C7CB}" dt="2022-11-08T04:41:00.287" v="143" actId="20577"/>
          <ac:spMkLst>
            <pc:docMk/>
            <pc:sldMk cId="700466715" sldId="1137"/>
            <ac:spMk id="2" creationId="{4BC799D2-5201-4330-9C8D-74D2FCE087A1}"/>
          </ac:spMkLst>
        </pc:spChg>
        <pc:picChg chg="add mod">
          <ac:chgData name="Tony M P" userId="ae1e3ab533ed63fd" providerId="LiveId" clId="{37909BD4-7748-4B36-BA7A-F9F3C9E8C7CB}" dt="2022-11-08T04:43:55.193" v="146" actId="1076"/>
          <ac:picMkLst>
            <pc:docMk/>
            <pc:sldMk cId="700466715" sldId="1137"/>
            <ac:picMk id="3" creationId="{1663F417-7743-2941-38E2-83D136DBC6E0}"/>
          </ac:picMkLst>
        </pc:picChg>
      </pc:sldChg>
      <pc:sldChg chg="del">
        <pc:chgData name="Tony M P" userId="ae1e3ab533ed63fd" providerId="LiveId" clId="{37909BD4-7748-4B36-BA7A-F9F3C9E8C7CB}" dt="2022-11-07T12:44:08.442" v="104" actId="47"/>
        <pc:sldMkLst>
          <pc:docMk/>
          <pc:sldMk cId="1696902954" sldId="1137"/>
        </pc:sldMkLst>
      </pc:sldChg>
      <pc:sldChg chg="addSp modSp mod">
        <pc:chgData name="Tony M P" userId="ae1e3ab533ed63fd" providerId="LiveId" clId="{37909BD4-7748-4B36-BA7A-F9F3C9E8C7CB}" dt="2022-11-08T04:43:42.059" v="144"/>
        <pc:sldMkLst>
          <pc:docMk/>
          <pc:sldMk cId="3844539295" sldId="1138"/>
        </pc:sldMkLst>
        <pc:spChg chg="mod">
          <ac:chgData name="Tony M P" userId="ae1e3ab533ed63fd" providerId="LiveId" clId="{37909BD4-7748-4B36-BA7A-F9F3C9E8C7CB}" dt="2022-11-08T04:40:55.783" v="141" actId="20577"/>
          <ac:spMkLst>
            <pc:docMk/>
            <pc:sldMk cId="3844539295" sldId="1138"/>
            <ac:spMk id="2" creationId="{4BC799D2-5201-4330-9C8D-74D2FCE087A1}"/>
          </ac:spMkLst>
        </pc:spChg>
        <pc:picChg chg="add">
          <ac:chgData name="Tony M P" userId="ae1e3ab533ed63fd" providerId="LiveId" clId="{37909BD4-7748-4B36-BA7A-F9F3C9E8C7CB}" dt="2022-11-08T04:43:42.059" v="144"/>
          <ac:picMkLst>
            <pc:docMk/>
            <pc:sldMk cId="3844539295" sldId="1138"/>
            <ac:picMk id="3" creationId="{02A4BFBA-546A-B8D4-E7DD-6E3757735476}"/>
          </ac:picMkLst>
        </pc:picChg>
      </pc:sldChg>
      <pc:sldChg chg="del">
        <pc:chgData name="Tony M P" userId="ae1e3ab533ed63fd" providerId="LiveId" clId="{37909BD4-7748-4B36-BA7A-F9F3C9E8C7CB}" dt="2022-11-07T12:44:10.457" v="107" actId="47"/>
        <pc:sldMkLst>
          <pc:docMk/>
          <pc:sldMk cId="4015135292" sldId="1138"/>
        </pc:sldMkLst>
      </pc:sldChg>
      <pc:sldChg chg="del">
        <pc:chgData name="Tony M P" userId="ae1e3ab533ed63fd" providerId="LiveId" clId="{37909BD4-7748-4B36-BA7A-F9F3C9E8C7CB}" dt="2022-11-07T12:44:09.114" v="105" actId="47"/>
        <pc:sldMkLst>
          <pc:docMk/>
          <pc:sldMk cId="998238054" sldId="1139"/>
        </pc:sldMkLst>
      </pc:sldChg>
      <pc:sldChg chg="addSp modSp mod">
        <pc:chgData name="Tony M P" userId="ae1e3ab533ed63fd" providerId="LiveId" clId="{37909BD4-7748-4B36-BA7A-F9F3C9E8C7CB}" dt="2022-11-08T04:39:49.550" v="139" actId="1076"/>
        <pc:sldMkLst>
          <pc:docMk/>
          <pc:sldMk cId="3170737812" sldId="1139"/>
        </pc:sldMkLst>
        <pc:picChg chg="add mod">
          <ac:chgData name="Tony M P" userId="ae1e3ab533ed63fd" providerId="LiveId" clId="{37909BD4-7748-4B36-BA7A-F9F3C9E8C7CB}" dt="2022-11-08T04:39:49.550" v="139" actId="1076"/>
          <ac:picMkLst>
            <pc:docMk/>
            <pc:sldMk cId="3170737812" sldId="1139"/>
            <ac:picMk id="3" creationId="{31591C38-A0D3-54C3-7094-5DEE21630CD5}"/>
          </ac:picMkLst>
        </pc:picChg>
      </pc:sldChg>
      <pc:sldChg chg="del">
        <pc:chgData name="Tony M P" userId="ae1e3ab533ed63fd" providerId="LiveId" clId="{37909BD4-7748-4B36-BA7A-F9F3C9E8C7CB}" dt="2022-11-07T12:44:09.833" v="106" actId="47"/>
        <pc:sldMkLst>
          <pc:docMk/>
          <pc:sldMk cId="3359519549" sldId="1140"/>
        </pc:sldMkLst>
      </pc:sldChg>
      <pc:sldChg chg="addSp modSp mod">
        <pc:chgData name="Tony M P" userId="ae1e3ab533ed63fd" providerId="LiveId" clId="{37909BD4-7748-4B36-BA7A-F9F3C9E8C7CB}" dt="2022-11-08T04:39:34.587" v="137" actId="1076"/>
        <pc:sldMkLst>
          <pc:docMk/>
          <pc:sldMk cId="3631831022" sldId="1140"/>
        </pc:sldMkLst>
        <pc:picChg chg="add mod">
          <ac:chgData name="Tony M P" userId="ae1e3ab533ed63fd" providerId="LiveId" clId="{37909BD4-7748-4B36-BA7A-F9F3C9E8C7CB}" dt="2022-11-08T04:39:34.587" v="137" actId="1076"/>
          <ac:picMkLst>
            <pc:docMk/>
            <pc:sldMk cId="3631831022" sldId="1140"/>
            <ac:picMk id="3" creationId="{C5B20A10-0AF0-D118-DDB4-24435243651E}"/>
          </ac:picMkLst>
        </pc:picChg>
      </pc:sldChg>
      <pc:sldChg chg="del">
        <pc:chgData name="Tony M P" userId="ae1e3ab533ed63fd" providerId="LiveId" clId="{37909BD4-7748-4B36-BA7A-F9F3C9E8C7CB}" dt="2022-11-09T11:44:55.667" v="438" actId="47"/>
        <pc:sldMkLst>
          <pc:docMk/>
          <pc:sldMk cId="197378916" sldId="1141"/>
        </pc:sldMkLst>
      </pc:sldChg>
      <pc:sldChg chg="del">
        <pc:chgData name="Tony M P" userId="ae1e3ab533ed63fd" providerId="LiveId" clId="{37909BD4-7748-4B36-BA7A-F9F3C9E8C7CB}" dt="2022-11-07T12:44:05.068" v="92" actId="47"/>
        <pc:sldMkLst>
          <pc:docMk/>
          <pc:sldMk cId="1396991937" sldId="1141"/>
        </pc:sldMkLst>
      </pc:sldChg>
      <pc:sldChg chg="del">
        <pc:chgData name="Tony M P" userId="ae1e3ab533ed63fd" providerId="LiveId" clId="{37909BD4-7748-4B36-BA7A-F9F3C9E8C7CB}" dt="2022-11-09T11:44:53.127" v="437" actId="47"/>
        <pc:sldMkLst>
          <pc:docMk/>
          <pc:sldMk cId="2114975267" sldId="1142"/>
        </pc:sldMkLst>
      </pc:sldChg>
      <pc:sldChg chg="del">
        <pc:chgData name="Tony M P" userId="ae1e3ab533ed63fd" providerId="LiveId" clId="{37909BD4-7748-4B36-BA7A-F9F3C9E8C7CB}" dt="2022-11-07T12:44:05.693" v="94" actId="47"/>
        <pc:sldMkLst>
          <pc:docMk/>
          <pc:sldMk cId="3074233760" sldId="1142"/>
        </pc:sldMkLst>
      </pc:sldChg>
      <pc:sldChg chg="addSp modSp mod">
        <pc:chgData name="Tony M P" userId="ae1e3ab533ed63fd" providerId="LiveId" clId="{37909BD4-7748-4B36-BA7A-F9F3C9E8C7CB}" dt="2022-11-09T02:00:09.308" v="220" actId="1076"/>
        <pc:sldMkLst>
          <pc:docMk/>
          <pc:sldMk cId="340068696" sldId="1143"/>
        </pc:sldMkLst>
        <pc:spChg chg="mod">
          <ac:chgData name="Tony M P" userId="ae1e3ab533ed63fd" providerId="LiveId" clId="{37909BD4-7748-4B36-BA7A-F9F3C9E8C7CB}" dt="2022-11-09T01:59:57.682" v="218" actId="20577"/>
          <ac:spMkLst>
            <pc:docMk/>
            <pc:sldMk cId="340068696" sldId="1143"/>
            <ac:spMk id="2" creationId="{4BC799D2-5201-4330-9C8D-74D2FCE087A1}"/>
          </ac:spMkLst>
        </pc:spChg>
        <pc:picChg chg="add mod">
          <ac:chgData name="Tony M P" userId="ae1e3ab533ed63fd" providerId="LiveId" clId="{37909BD4-7748-4B36-BA7A-F9F3C9E8C7CB}" dt="2022-11-09T02:00:09.308" v="220" actId="1076"/>
          <ac:picMkLst>
            <pc:docMk/>
            <pc:sldMk cId="340068696" sldId="1143"/>
            <ac:picMk id="5" creationId="{0BB551BD-E7C2-B051-77D5-B27D8049D40B}"/>
          </ac:picMkLst>
        </pc:picChg>
      </pc:sldChg>
      <pc:sldChg chg="del">
        <pc:chgData name="Tony M P" userId="ae1e3ab533ed63fd" providerId="LiveId" clId="{37909BD4-7748-4B36-BA7A-F9F3C9E8C7CB}" dt="2022-11-07T12:44:05.380" v="93" actId="47"/>
        <pc:sldMkLst>
          <pc:docMk/>
          <pc:sldMk cId="1181680406" sldId="1143"/>
        </pc:sldMkLst>
      </pc:sldChg>
      <pc:sldChg chg="addSp modSp mod">
        <pc:chgData name="Tony M P" userId="ae1e3ab533ed63fd" providerId="LiveId" clId="{37909BD4-7748-4B36-BA7A-F9F3C9E8C7CB}" dt="2022-11-08T05:15:26.725" v="190" actId="1076"/>
        <pc:sldMkLst>
          <pc:docMk/>
          <pc:sldMk cId="742953335" sldId="1144"/>
        </pc:sldMkLst>
        <pc:picChg chg="add mod">
          <ac:chgData name="Tony M P" userId="ae1e3ab533ed63fd" providerId="LiveId" clId="{37909BD4-7748-4B36-BA7A-F9F3C9E8C7CB}" dt="2022-11-08T05:15:26.725" v="190" actId="1076"/>
          <ac:picMkLst>
            <pc:docMk/>
            <pc:sldMk cId="742953335" sldId="1144"/>
            <ac:picMk id="3" creationId="{EE733832-CDF0-30CD-3399-A7DF7C01FB23}"/>
          </ac:picMkLst>
        </pc:picChg>
      </pc:sldChg>
      <pc:sldChg chg="addSp modSp mod">
        <pc:chgData name="Tony M P" userId="ae1e3ab533ed63fd" providerId="LiveId" clId="{37909BD4-7748-4B36-BA7A-F9F3C9E8C7CB}" dt="2022-11-08T05:13:18.011" v="188" actId="1076"/>
        <pc:sldMkLst>
          <pc:docMk/>
          <pc:sldMk cId="3533102411" sldId="1145"/>
        </pc:sldMkLst>
        <pc:picChg chg="add mod">
          <ac:chgData name="Tony M P" userId="ae1e3ab533ed63fd" providerId="LiveId" clId="{37909BD4-7748-4B36-BA7A-F9F3C9E8C7CB}" dt="2022-11-08T05:13:18.011" v="188" actId="1076"/>
          <ac:picMkLst>
            <pc:docMk/>
            <pc:sldMk cId="3533102411" sldId="1145"/>
            <ac:picMk id="3" creationId="{8C986C77-739C-CFA6-9086-CCD6F1E4A3B9}"/>
          </ac:picMkLst>
        </pc:picChg>
      </pc:sldChg>
      <pc:sldChg chg="addSp delSp modSp mod">
        <pc:chgData name="Tony M P" userId="ae1e3ab533ed63fd" providerId="LiveId" clId="{37909BD4-7748-4B36-BA7A-F9F3C9E8C7CB}" dt="2022-11-08T05:12:48.377" v="186" actId="1076"/>
        <pc:sldMkLst>
          <pc:docMk/>
          <pc:sldMk cId="344801269" sldId="1146"/>
        </pc:sldMkLst>
        <pc:picChg chg="add del mod">
          <ac:chgData name="Tony M P" userId="ae1e3ab533ed63fd" providerId="LiveId" clId="{37909BD4-7748-4B36-BA7A-F9F3C9E8C7CB}" dt="2022-11-08T05:12:28.421" v="184" actId="478"/>
          <ac:picMkLst>
            <pc:docMk/>
            <pc:sldMk cId="344801269" sldId="1146"/>
            <ac:picMk id="3" creationId="{BD9C390E-C1D7-13A4-9A26-2DFAC03A1963}"/>
          </ac:picMkLst>
        </pc:picChg>
        <pc:picChg chg="add mod">
          <ac:chgData name="Tony M P" userId="ae1e3ab533ed63fd" providerId="LiveId" clId="{37909BD4-7748-4B36-BA7A-F9F3C9E8C7CB}" dt="2022-11-08T05:12:48.377" v="186" actId="1076"/>
          <ac:picMkLst>
            <pc:docMk/>
            <pc:sldMk cId="344801269" sldId="1146"/>
            <ac:picMk id="5" creationId="{D7C52A03-7E3E-450B-DAD0-24F8EE5C379E}"/>
          </ac:picMkLst>
        </pc:picChg>
      </pc:sldChg>
      <pc:sldChg chg="addSp modSp mod">
        <pc:chgData name="Tony M P" userId="ae1e3ab533ed63fd" providerId="LiveId" clId="{37909BD4-7748-4B36-BA7A-F9F3C9E8C7CB}" dt="2022-11-08T05:10:30.794" v="180" actId="1076"/>
        <pc:sldMkLst>
          <pc:docMk/>
          <pc:sldMk cId="1233917488" sldId="1147"/>
        </pc:sldMkLst>
        <pc:picChg chg="add mod">
          <ac:chgData name="Tony M P" userId="ae1e3ab533ed63fd" providerId="LiveId" clId="{37909BD4-7748-4B36-BA7A-F9F3C9E8C7CB}" dt="2022-11-08T05:10:30.794" v="180" actId="1076"/>
          <ac:picMkLst>
            <pc:docMk/>
            <pc:sldMk cId="1233917488" sldId="1147"/>
            <ac:picMk id="3" creationId="{4F1C6A08-293B-BA5A-9941-166FE4D5135C}"/>
          </ac:picMkLst>
        </pc:picChg>
      </pc:sldChg>
      <pc:sldChg chg="addSp modSp mod">
        <pc:chgData name="Tony M P" userId="ae1e3ab533ed63fd" providerId="LiveId" clId="{37909BD4-7748-4B36-BA7A-F9F3C9E8C7CB}" dt="2022-11-08T07:11:49.279" v="216" actId="1076"/>
        <pc:sldMkLst>
          <pc:docMk/>
          <pc:sldMk cId="2249596709" sldId="1149"/>
        </pc:sldMkLst>
        <pc:picChg chg="add mod">
          <ac:chgData name="Tony M P" userId="ae1e3ab533ed63fd" providerId="LiveId" clId="{37909BD4-7748-4B36-BA7A-F9F3C9E8C7CB}" dt="2022-11-08T07:11:49.279" v="216" actId="1076"/>
          <ac:picMkLst>
            <pc:docMk/>
            <pc:sldMk cId="2249596709" sldId="1149"/>
            <ac:picMk id="3" creationId="{CF3CD350-3951-8F2B-38D3-E61F4C13E0AC}"/>
          </ac:picMkLst>
        </pc:picChg>
      </pc:sldChg>
      <pc:sldChg chg="addSp modSp mod">
        <pc:chgData name="Tony M P" userId="ae1e3ab533ed63fd" providerId="LiveId" clId="{37909BD4-7748-4B36-BA7A-F9F3C9E8C7CB}" dt="2022-11-08T05:31:51.478" v="192" actId="1076"/>
        <pc:sldMkLst>
          <pc:docMk/>
          <pc:sldMk cId="598364043" sldId="1150"/>
        </pc:sldMkLst>
        <pc:picChg chg="add mod">
          <ac:chgData name="Tony M P" userId="ae1e3ab533ed63fd" providerId="LiveId" clId="{37909BD4-7748-4B36-BA7A-F9F3C9E8C7CB}" dt="2022-11-08T05:31:51.478" v="192" actId="1076"/>
          <ac:picMkLst>
            <pc:docMk/>
            <pc:sldMk cId="598364043" sldId="1150"/>
            <ac:picMk id="3" creationId="{C5D137CF-591A-030C-BC9D-ABDD9861442F}"/>
          </ac:picMkLst>
        </pc:picChg>
      </pc:sldChg>
      <pc:sldChg chg="addSp modSp mod">
        <pc:chgData name="Tony M P" userId="ae1e3ab533ed63fd" providerId="LiveId" clId="{37909BD4-7748-4B36-BA7A-F9F3C9E8C7CB}" dt="2022-11-08T07:11:30.522" v="212" actId="14100"/>
        <pc:sldMkLst>
          <pc:docMk/>
          <pc:sldMk cId="2224326180" sldId="1151"/>
        </pc:sldMkLst>
        <pc:picChg chg="add mod">
          <ac:chgData name="Tony M P" userId="ae1e3ab533ed63fd" providerId="LiveId" clId="{37909BD4-7748-4B36-BA7A-F9F3C9E8C7CB}" dt="2022-11-08T07:11:30.522" v="212" actId="14100"/>
          <ac:picMkLst>
            <pc:docMk/>
            <pc:sldMk cId="2224326180" sldId="1151"/>
            <ac:picMk id="3" creationId="{93026CB9-10FB-CFBC-4D0E-5EE7113B7B98}"/>
          </ac:picMkLst>
        </pc:picChg>
      </pc:sldChg>
      <pc:sldChg chg="addSp modSp mod">
        <pc:chgData name="Tony M P" userId="ae1e3ab533ed63fd" providerId="LiveId" clId="{37909BD4-7748-4B36-BA7A-F9F3C9E8C7CB}" dt="2022-11-08T07:11:07.236" v="210" actId="1076"/>
        <pc:sldMkLst>
          <pc:docMk/>
          <pc:sldMk cId="2105721736" sldId="1152"/>
        </pc:sldMkLst>
        <pc:picChg chg="add mod">
          <ac:chgData name="Tony M P" userId="ae1e3ab533ed63fd" providerId="LiveId" clId="{37909BD4-7748-4B36-BA7A-F9F3C9E8C7CB}" dt="2022-11-08T07:11:07.236" v="210" actId="1076"/>
          <ac:picMkLst>
            <pc:docMk/>
            <pc:sldMk cId="2105721736" sldId="1152"/>
            <ac:picMk id="3" creationId="{AEC354A8-FDBE-E4A1-DC18-9BFF09CA6E58}"/>
          </ac:picMkLst>
        </pc:picChg>
      </pc:sldChg>
      <pc:sldChg chg="addSp modSp mod">
        <pc:chgData name="Tony M P" userId="ae1e3ab533ed63fd" providerId="LiveId" clId="{37909BD4-7748-4B36-BA7A-F9F3C9E8C7CB}" dt="2022-11-08T07:10:48.599" v="208" actId="14100"/>
        <pc:sldMkLst>
          <pc:docMk/>
          <pc:sldMk cId="3981544017" sldId="1153"/>
        </pc:sldMkLst>
        <pc:picChg chg="add mod">
          <ac:chgData name="Tony M P" userId="ae1e3ab533ed63fd" providerId="LiveId" clId="{37909BD4-7748-4B36-BA7A-F9F3C9E8C7CB}" dt="2022-11-08T07:10:48.599" v="208" actId="14100"/>
          <ac:picMkLst>
            <pc:docMk/>
            <pc:sldMk cId="3981544017" sldId="1153"/>
            <ac:picMk id="3" creationId="{446CD479-F88C-090B-FA22-89CA3D9CA21D}"/>
          </ac:picMkLst>
        </pc:picChg>
      </pc:sldChg>
      <pc:sldChg chg="addSp modSp mod">
        <pc:chgData name="Tony M P" userId="ae1e3ab533ed63fd" providerId="LiveId" clId="{37909BD4-7748-4B36-BA7A-F9F3C9E8C7CB}" dt="2022-11-08T07:10:15.534" v="205" actId="14100"/>
        <pc:sldMkLst>
          <pc:docMk/>
          <pc:sldMk cId="1766948347" sldId="1154"/>
        </pc:sldMkLst>
        <pc:picChg chg="add mod">
          <ac:chgData name="Tony M P" userId="ae1e3ab533ed63fd" providerId="LiveId" clId="{37909BD4-7748-4B36-BA7A-F9F3C9E8C7CB}" dt="2022-11-08T07:10:15.534" v="205" actId="14100"/>
          <ac:picMkLst>
            <pc:docMk/>
            <pc:sldMk cId="1766948347" sldId="1154"/>
            <ac:picMk id="3" creationId="{9DF44330-649A-668B-7A10-0CECAB0F909F}"/>
          </ac:picMkLst>
        </pc:picChg>
      </pc:sldChg>
      <pc:sldChg chg="addSp modSp mod">
        <pc:chgData name="Tony M P" userId="ae1e3ab533ed63fd" providerId="LiveId" clId="{37909BD4-7748-4B36-BA7A-F9F3C9E8C7CB}" dt="2022-11-08T07:09:56.644" v="203" actId="14100"/>
        <pc:sldMkLst>
          <pc:docMk/>
          <pc:sldMk cId="1075361552" sldId="1155"/>
        </pc:sldMkLst>
        <pc:picChg chg="add mod">
          <ac:chgData name="Tony M P" userId="ae1e3ab533ed63fd" providerId="LiveId" clId="{37909BD4-7748-4B36-BA7A-F9F3C9E8C7CB}" dt="2022-11-08T07:09:56.644" v="203" actId="14100"/>
          <ac:picMkLst>
            <pc:docMk/>
            <pc:sldMk cId="1075361552" sldId="1155"/>
            <ac:picMk id="3" creationId="{E89902F7-C222-CAFD-AB12-D045B585450D}"/>
          </ac:picMkLst>
        </pc:picChg>
      </pc:sldChg>
      <pc:sldChg chg="addSp modSp mod">
        <pc:chgData name="Tony M P" userId="ae1e3ab533ed63fd" providerId="LiveId" clId="{37909BD4-7748-4B36-BA7A-F9F3C9E8C7CB}" dt="2022-11-08T05:34:01.393" v="201" actId="1076"/>
        <pc:sldMkLst>
          <pc:docMk/>
          <pc:sldMk cId="247363007" sldId="1156"/>
        </pc:sldMkLst>
        <pc:picChg chg="add mod">
          <ac:chgData name="Tony M P" userId="ae1e3ab533ed63fd" providerId="LiveId" clId="{37909BD4-7748-4B36-BA7A-F9F3C9E8C7CB}" dt="2022-11-08T05:34:01.393" v="201" actId="1076"/>
          <ac:picMkLst>
            <pc:docMk/>
            <pc:sldMk cId="247363007" sldId="1156"/>
            <ac:picMk id="3" creationId="{6FC2FF73-3E8B-84C0-92DF-C3936935348D}"/>
          </ac:picMkLst>
        </pc:picChg>
      </pc:sldChg>
      <pc:sldChg chg="addSp modSp mod">
        <pc:chgData name="Tony M P" userId="ae1e3ab533ed63fd" providerId="LiveId" clId="{37909BD4-7748-4B36-BA7A-F9F3C9E8C7CB}" dt="2022-11-08T05:32:39.715" v="199" actId="1076"/>
        <pc:sldMkLst>
          <pc:docMk/>
          <pc:sldMk cId="1227364399" sldId="1157"/>
        </pc:sldMkLst>
        <pc:picChg chg="add mod">
          <ac:chgData name="Tony M P" userId="ae1e3ab533ed63fd" providerId="LiveId" clId="{37909BD4-7748-4B36-BA7A-F9F3C9E8C7CB}" dt="2022-11-08T05:32:39.715" v="199" actId="1076"/>
          <ac:picMkLst>
            <pc:docMk/>
            <pc:sldMk cId="1227364399" sldId="1157"/>
            <ac:picMk id="3" creationId="{68FFC65B-3881-69FB-DA43-797AC8065A53}"/>
          </ac:picMkLst>
        </pc:picChg>
      </pc:sldChg>
      <pc:sldChg chg="addSp modSp mod">
        <pc:chgData name="Tony M P" userId="ae1e3ab533ed63fd" providerId="LiveId" clId="{37909BD4-7748-4B36-BA7A-F9F3C9E8C7CB}" dt="2022-11-08T05:32:27.433" v="197" actId="1076"/>
        <pc:sldMkLst>
          <pc:docMk/>
          <pc:sldMk cId="2851297256" sldId="1158"/>
        </pc:sldMkLst>
        <pc:picChg chg="add mod">
          <ac:chgData name="Tony M P" userId="ae1e3ab533ed63fd" providerId="LiveId" clId="{37909BD4-7748-4B36-BA7A-F9F3C9E8C7CB}" dt="2022-11-08T05:32:27.433" v="197" actId="1076"/>
          <ac:picMkLst>
            <pc:docMk/>
            <pc:sldMk cId="2851297256" sldId="1158"/>
            <ac:picMk id="3" creationId="{63F64729-7086-2E21-9D11-4ED3B45CC4D8}"/>
          </ac:picMkLst>
        </pc:picChg>
      </pc:sldChg>
      <pc:sldChg chg="addSp modSp mod">
        <pc:chgData name="Tony M P" userId="ae1e3ab533ed63fd" providerId="LiveId" clId="{37909BD4-7748-4B36-BA7A-F9F3C9E8C7CB}" dt="2022-11-08T05:32:13.584" v="195" actId="14100"/>
        <pc:sldMkLst>
          <pc:docMk/>
          <pc:sldMk cId="714823444" sldId="1159"/>
        </pc:sldMkLst>
        <pc:picChg chg="add mod">
          <ac:chgData name="Tony M P" userId="ae1e3ab533ed63fd" providerId="LiveId" clId="{37909BD4-7748-4B36-BA7A-F9F3C9E8C7CB}" dt="2022-11-08T05:32:13.584" v="195" actId="14100"/>
          <ac:picMkLst>
            <pc:docMk/>
            <pc:sldMk cId="714823444" sldId="1159"/>
            <ac:picMk id="3" creationId="{3AD8BFBB-B29D-5147-24FA-B9CBFC635474}"/>
          </ac:picMkLst>
        </pc:picChg>
      </pc:sldChg>
      <pc:sldChg chg="del">
        <pc:chgData name="Tony M P" userId="ae1e3ab533ed63fd" providerId="LiveId" clId="{37909BD4-7748-4B36-BA7A-F9F3C9E8C7CB}" dt="2022-11-09T11:44:51.213" v="436" actId="47"/>
        <pc:sldMkLst>
          <pc:docMk/>
          <pc:sldMk cId="1012710899" sldId="1165"/>
        </pc:sldMkLst>
      </pc:sldChg>
      <pc:sldChg chg="del">
        <pc:chgData name="Tony M P" userId="ae1e3ab533ed63fd" providerId="LiveId" clId="{37909BD4-7748-4B36-BA7A-F9F3C9E8C7CB}" dt="2022-11-09T11:44:45.909" v="435" actId="47"/>
        <pc:sldMkLst>
          <pc:docMk/>
          <pc:sldMk cId="3489869712" sldId="1166"/>
        </pc:sldMkLst>
      </pc:sldChg>
      <pc:sldChg chg="del">
        <pc:chgData name="Tony M P" userId="ae1e3ab533ed63fd" providerId="LiveId" clId="{37909BD4-7748-4B36-BA7A-F9F3C9E8C7CB}" dt="2022-11-09T11:44:45.119" v="434" actId="47"/>
        <pc:sldMkLst>
          <pc:docMk/>
          <pc:sldMk cId="1522985935" sldId="1167"/>
        </pc:sldMkLst>
      </pc:sldChg>
      <pc:sldChg chg="addSp modSp mod">
        <pc:chgData name="Tony M P" userId="ae1e3ab533ed63fd" providerId="LiveId" clId="{37909BD4-7748-4B36-BA7A-F9F3C9E8C7CB}" dt="2022-11-09T02:01:18.381" v="224" actId="1076"/>
        <pc:sldMkLst>
          <pc:docMk/>
          <pc:sldMk cId="1348038761" sldId="1168"/>
        </pc:sldMkLst>
        <pc:spChg chg="mod">
          <ac:chgData name="Tony M P" userId="ae1e3ab533ed63fd" providerId="LiveId" clId="{37909BD4-7748-4B36-BA7A-F9F3C9E8C7CB}" dt="2022-11-09T02:00:37.586" v="222" actId="20577"/>
          <ac:spMkLst>
            <pc:docMk/>
            <pc:sldMk cId="1348038761" sldId="1168"/>
            <ac:spMk id="2" creationId="{4BC799D2-5201-4330-9C8D-74D2FCE087A1}"/>
          </ac:spMkLst>
        </pc:spChg>
        <pc:picChg chg="add mod">
          <ac:chgData name="Tony M P" userId="ae1e3ab533ed63fd" providerId="LiveId" clId="{37909BD4-7748-4B36-BA7A-F9F3C9E8C7CB}" dt="2022-11-09T02:01:18.381" v="224" actId="1076"/>
          <ac:picMkLst>
            <pc:docMk/>
            <pc:sldMk cId="1348038761" sldId="1168"/>
            <ac:picMk id="5" creationId="{769699DD-EBFA-424C-5BF1-D281434783AE}"/>
          </ac:picMkLst>
        </pc:picChg>
      </pc:sldChg>
      <pc:sldChg chg="addSp delSp modSp mod">
        <pc:chgData name="Tony M P" userId="ae1e3ab533ed63fd" providerId="LiveId" clId="{37909BD4-7748-4B36-BA7A-F9F3C9E8C7CB}" dt="2022-11-09T02:29:21.712" v="230" actId="14100"/>
        <pc:sldMkLst>
          <pc:docMk/>
          <pc:sldMk cId="1289623707" sldId="1169"/>
        </pc:sldMkLst>
        <pc:picChg chg="del">
          <ac:chgData name="Tony M P" userId="ae1e3ab533ed63fd" providerId="LiveId" clId="{37909BD4-7748-4B36-BA7A-F9F3C9E8C7CB}" dt="2022-11-09T02:27:45.924" v="226" actId="478"/>
          <ac:picMkLst>
            <pc:docMk/>
            <pc:sldMk cId="1289623707" sldId="1169"/>
            <ac:picMk id="3" creationId="{C5D137CF-591A-030C-BC9D-ABDD9861442F}"/>
          </ac:picMkLst>
        </pc:picChg>
        <pc:picChg chg="add mod">
          <ac:chgData name="Tony M P" userId="ae1e3ab533ed63fd" providerId="LiveId" clId="{37909BD4-7748-4B36-BA7A-F9F3C9E8C7CB}" dt="2022-11-09T02:29:21.712" v="230" actId="14100"/>
          <ac:picMkLst>
            <pc:docMk/>
            <pc:sldMk cId="1289623707" sldId="1169"/>
            <ac:picMk id="6" creationId="{119DD39C-613F-6EA8-B412-36198281421B}"/>
          </ac:picMkLst>
        </pc:picChg>
      </pc:sldChg>
      <pc:sldChg chg="addSp delSp modSp mod">
        <pc:chgData name="Tony M P" userId="ae1e3ab533ed63fd" providerId="LiveId" clId="{37909BD4-7748-4B36-BA7A-F9F3C9E8C7CB}" dt="2022-11-09T02:28:47.088" v="228" actId="14100"/>
        <pc:sldMkLst>
          <pc:docMk/>
          <pc:sldMk cId="2044341696" sldId="1170"/>
        </pc:sldMkLst>
        <pc:picChg chg="del">
          <ac:chgData name="Tony M P" userId="ae1e3ab533ed63fd" providerId="LiveId" clId="{37909BD4-7748-4B36-BA7A-F9F3C9E8C7CB}" dt="2022-11-09T02:27:42.904" v="225" actId="478"/>
          <ac:picMkLst>
            <pc:docMk/>
            <pc:sldMk cId="2044341696" sldId="1170"/>
            <ac:picMk id="3" creationId="{C5D137CF-591A-030C-BC9D-ABDD9861442F}"/>
          </ac:picMkLst>
        </pc:picChg>
        <pc:picChg chg="add mod">
          <ac:chgData name="Tony M P" userId="ae1e3ab533ed63fd" providerId="LiveId" clId="{37909BD4-7748-4B36-BA7A-F9F3C9E8C7CB}" dt="2022-11-09T02:28:47.088" v="228" actId="14100"/>
          <ac:picMkLst>
            <pc:docMk/>
            <pc:sldMk cId="2044341696" sldId="1170"/>
            <ac:picMk id="6" creationId="{12F92B80-FD75-D36E-3E5D-5A13A027E283}"/>
          </ac:picMkLst>
        </pc:picChg>
      </pc:sldChg>
      <pc:sldChg chg="addSp delSp modSp mod">
        <pc:chgData name="Tony M P" userId="ae1e3ab533ed63fd" providerId="LiveId" clId="{37909BD4-7748-4B36-BA7A-F9F3C9E8C7CB}" dt="2022-11-09T07:04:10.976" v="346" actId="14100"/>
        <pc:sldMkLst>
          <pc:docMk/>
          <pc:sldMk cId="4116505925" sldId="1171"/>
        </pc:sldMkLst>
        <pc:spChg chg="mod">
          <ac:chgData name="Tony M P" userId="ae1e3ab533ed63fd" providerId="LiveId" clId="{37909BD4-7748-4B36-BA7A-F9F3C9E8C7CB}" dt="2022-11-09T07:00:02.557" v="240" actId="20577"/>
          <ac:spMkLst>
            <pc:docMk/>
            <pc:sldMk cId="4116505925" sldId="1171"/>
            <ac:spMk id="2" creationId="{4BC799D2-5201-4330-9C8D-74D2FCE087A1}"/>
          </ac:spMkLst>
        </pc:spChg>
        <pc:picChg chg="add mod">
          <ac:chgData name="Tony M P" userId="ae1e3ab533ed63fd" providerId="LiveId" clId="{37909BD4-7748-4B36-BA7A-F9F3C9E8C7CB}" dt="2022-11-09T07:04:10.976" v="346" actId="14100"/>
          <ac:picMkLst>
            <pc:docMk/>
            <pc:sldMk cId="4116505925" sldId="1171"/>
            <ac:picMk id="5" creationId="{03C17A6F-19BA-2DF3-3CFB-0A4A86AEBB9A}"/>
          </ac:picMkLst>
        </pc:picChg>
        <pc:picChg chg="del">
          <ac:chgData name="Tony M P" userId="ae1e3ab533ed63fd" providerId="LiveId" clId="{37909BD4-7748-4B36-BA7A-F9F3C9E8C7CB}" dt="2022-11-09T06:59:43.264" v="231" actId="478"/>
          <ac:picMkLst>
            <pc:docMk/>
            <pc:sldMk cId="4116505925" sldId="1171"/>
            <ac:picMk id="7" creationId="{3B974150-DB1C-C629-66B6-F327D84F6E72}"/>
          </ac:picMkLst>
        </pc:picChg>
      </pc:sldChg>
      <pc:sldChg chg="del">
        <pc:chgData name="Tony M P" userId="ae1e3ab533ed63fd" providerId="LiveId" clId="{37909BD4-7748-4B36-BA7A-F9F3C9E8C7CB}" dt="2022-11-09T11:45:13.697" v="440" actId="47"/>
        <pc:sldMkLst>
          <pc:docMk/>
          <pc:sldMk cId="969960734" sldId="1172"/>
        </pc:sldMkLst>
      </pc:sldChg>
      <pc:sldChg chg="addSp modSp mod">
        <pc:chgData name="Tony M P" userId="ae1e3ab533ed63fd" providerId="LiveId" clId="{37909BD4-7748-4B36-BA7A-F9F3C9E8C7CB}" dt="2022-11-09T07:15:53.744" v="389" actId="1076"/>
        <pc:sldMkLst>
          <pc:docMk/>
          <pc:sldMk cId="3997494905" sldId="1173"/>
        </pc:sldMkLst>
        <pc:picChg chg="add mod">
          <ac:chgData name="Tony M P" userId="ae1e3ab533ed63fd" providerId="LiveId" clId="{37909BD4-7748-4B36-BA7A-F9F3C9E8C7CB}" dt="2022-11-09T07:15:53.744" v="389" actId="1076"/>
          <ac:picMkLst>
            <pc:docMk/>
            <pc:sldMk cId="3997494905" sldId="1173"/>
            <ac:picMk id="5" creationId="{546686FE-5F84-B576-3F43-F9C58A32172B}"/>
          </ac:picMkLst>
        </pc:picChg>
      </pc:sldChg>
      <pc:sldChg chg="addSp modSp mod">
        <pc:chgData name="Tony M P" userId="ae1e3ab533ed63fd" providerId="LiveId" clId="{37909BD4-7748-4B36-BA7A-F9F3C9E8C7CB}" dt="2022-11-09T07:12:01.917" v="374" actId="14100"/>
        <pc:sldMkLst>
          <pc:docMk/>
          <pc:sldMk cId="2924891204" sldId="1174"/>
        </pc:sldMkLst>
        <pc:picChg chg="add mod">
          <ac:chgData name="Tony M P" userId="ae1e3ab533ed63fd" providerId="LiveId" clId="{37909BD4-7748-4B36-BA7A-F9F3C9E8C7CB}" dt="2022-11-09T07:12:01.917" v="374" actId="14100"/>
          <ac:picMkLst>
            <pc:docMk/>
            <pc:sldMk cId="2924891204" sldId="1174"/>
            <ac:picMk id="5" creationId="{A819C1BA-F1C6-6CE9-BA66-91B6CF2D84DD}"/>
          </ac:picMkLst>
        </pc:picChg>
      </pc:sldChg>
      <pc:sldChg chg="addSp modSp mod">
        <pc:chgData name="Tony M P" userId="ae1e3ab533ed63fd" providerId="LiveId" clId="{37909BD4-7748-4B36-BA7A-F9F3C9E8C7CB}" dt="2022-11-09T07:07:31.211" v="355" actId="14100"/>
        <pc:sldMkLst>
          <pc:docMk/>
          <pc:sldMk cId="2619775196" sldId="1175"/>
        </pc:sldMkLst>
        <pc:picChg chg="add mod">
          <ac:chgData name="Tony M P" userId="ae1e3ab533ed63fd" providerId="LiveId" clId="{37909BD4-7748-4B36-BA7A-F9F3C9E8C7CB}" dt="2022-11-09T07:07:31.211" v="355" actId="14100"/>
          <ac:picMkLst>
            <pc:docMk/>
            <pc:sldMk cId="2619775196" sldId="1175"/>
            <ac:picMk id="5" creationId="{B8349867-1544-D082-26D0-F402F6032E49}"/>
          </ac:picMkLst>
        </pc:picChg>
      </pc:sldChg>
      <pc:sldChg chg="addSp modSp mod">
        <pc:chgData name="Tony M P" userId="ae1e3ab533ed63fd" providerId="LiveId" clId="{37909BD4-7748-4B36-BA7A-F9F3C9E8C7CB}" dt="2022-11-09T07:05:42.542" v="350" actId="14100"/>
        <pc:sldMkLst>
          <pc:docMk/>
          <pc:sldMk cId="2216087033" sldId="1176"/>
        </pc:sldMkLst>
        <pc:picChg chg="add mod">
          <ac:chgData name="Tony M P" userId="ae1e3ab533ed63fd" providerId="LiveId" clId="{37909BD4-7748-4B36-BA7A-F9F3C9E8C7CB}" dt="2022-11-09T07:05:42.542" v="350" actId="14100"/>
          <ac:picMkLst>
            <pc:docMk/>
            <pc:sldMk cId="2216087033" sldId="1176"/>
            <ac:picMk id="5" creationId="{A44E58B7-5844-A651-A248-CB087ADBBA38}"/>
          </ac:picMkLst>
        </pc:picChg>
      </pc:sldChg>
      <pc:sldChg chg="modSp del mod">
        <pc:chgData name="Tony M P" userId="ae1e3ab533ed63fd" providerId="LiveId" clId="{37909BD4-7748-4B36-BA7A-F9F3C9E8C7CB}" dt="2022-11-09T07:01:47.607" v="288" actId="47"/>
        <pc:sldMkLst>
          <pc:docMk/>
          <pc:sldMk cId="2403468278" sldId="1177"/>
        </pc:sldMkLst>
        <pc:spChg chg="mod">
          <ac:chgData name="Tony M P" userId="ae1e3ab533ed63fd" providerId="LiveId" clId="{37909BD4-7748-4B36-BA7A-F9F3C9E8C7CB}" dt="2022-11-09T07:01:11.991" v="287" actId="20577"/>
          <ac:spMkLst>
            <pc:docMk/>
            <pc:sldMk cId="2403468278" sldId="1177"/>
            <ac:spMk id="2" creationId="{4BC799D2-5201-4330-9C8D-74D2FCE087A1}"/>
          </ac:spMkLst>
        </pc:spChg>
      </pc:sldChg>
      <pc:sldChg chg="modSp mod">
        <pc:chgData name="Tony M P" userId="ae1e3ab533ed63fd" providerId="LiveId" clId="{37909BD4-7748-4B36-BA7A-F9F3C9E8C7CB}" dt="2022-11-09T07:02:36.928" v="342" actId="207"/>
        <pc:sldMkLst>
          <pc:docMk/>
          <pc:sldMk cId="3163537612" sldId="1178"/>
        </pc:sldMkLst>
        <pc:spChg chg="mod">
          <ac:chgData name="Tony M P" userId="ae1e3ab533ed63fd" providerId="LiveId" clId="{37909BD4-7748-4B36-BA7A-F9F3C9E8C7CB}" dt="2022-11-09T07:02:36.928" v="342" actId="207"/>
          <ac:spMkLst>
            <pc:docMk/>
            <pc:sldMk cId="3163537612" sldId="1178"/>
            <ac:spMk id="3" creationId="{00000000-0000-0000-0000-000000000000}"/>
          </ac:spMkLst>
        </pc:spChg>
      </pc:sldChg>
      <pc:sldChg chg="addSp modSp mod">
        <pc:chgData name="Tony M P" userId="ae1e3ab533ed63fd" providerId="LiveId" clId="{37909BD4-7748-4B36-BA7A-F9F3C9E8C7CB}" dt="2022-11-09T07:09:27.374" v="360" actId="14100"/>
        <pc:sldMkLst>
          <pc:docMk/>
          <pc:sldMk cId="2635732100" sldId="1179"/>
        </pc:sldMkLst>
        <pc:picChg chg="add mod">
          <ac:chgData name="Tony M P" userId="ae1e3ab533ed63fd" providerId="LiveId" clId="{37909BD4-7748-4B36-BA7A-F9F3C9E8C7CB}" dt="2022-11-09T07:09:27.374" v="360" actId="14100"/>
          <ac:picMkLst>
            <pc:docMk/>
            <pc:sldMk cId="2635732100" sldId="1179"/>
            <ac:picMk id="5" creationId="{516375F9-8B93-5FF6-BBA6-839BDC97E752}"/>
          </ac:picMkLst>
        </pc:picChg>
      </pc:sldChg>
      <pc:sldChg chg="addSp modSp mod">
        <pc:chgData name="Tony M P" userId="ae1e3ab533ed63fd" providerId="LiveId" clId="{37909BD4-7748-4B36-BA7A-F9F3C9E8C7CB}" dt="2022-11-09T07:10:18.057" v="364" actId="14100"/>
        <pc:sldMkLst>
          <pc:docMk/>
          <pc:sldMk cId="3479935927" sldId="1180"/>
        </pc:sldMkLst>
        <pc:picChg chg="add mod">
          <ac:chgData name="Tony M P" userId="ae1e3ab533ed63fd" providerId="LiveId" clId="{37909BD4-7748-4B36-BA7A-F9F3C9E8C7CB}" dt="2022-11-09T07:10:18.057" v="364" actId="14100"/>
          <ac:picMkLst>
            <pc:docMk/>
            <pc:sldMk cId="3479935927" sldId="1180"/>
            <ac:picMk id="5" creationId="{2DB05EFB-6940-FF02-CA3F-9B806B7B283A}"/>
          </ac:picMkLst>
        </pc:picChg>
      </pc:sldChg>
      <pc:sldChg chg="addSp delSp modSp mod">
        <pc:chgData name="Tony M P" userId="ae1e3ab533ed63fd" providerId="LiveId" clId="{37909BD4-7748-4B36-BA7A-F9F3C9E8C7CB}" dt="2022-11-09T11:05:20.610" v="403" actId="14100"/>
        <pc:sldMkLst>
          <pc:docMk/>
          <pc:sldMk cId="683931030" sldId="1181"/>
        </pc:sldMkLst>
        <pc:picChg chg="add del mod">
          <ac:chgData name="Tony M P" userId="ae1e3ab533ed63fd" providerId="LiveId" clId="{37909BD4-7748-4B36-BA7A-F9F3C9E8C7CB}" dt="2022-11-09T11:04:37.207" v="398" actId="478"/>
          <ac:picMkLst>
            <pc:docMk/>
            <pc:sldMk cId="683931030" sldId="1181"/>
            <ac:picMk id="5" creationId="{0AB66BCD-563B-50AA-A0F6-06AD24CC4525}"/>
          </ac:picMkLst>
        </pc:picChg>
        <pc:picChg chg="add mod">
          <ac:chgData name="Tony M P" userId="ae1e3ab533ed63fd" providerId="LiveId" clId="{37909BD4-7748-4B36-BA7A-F9F3C9E8C7CB}" dt="2022-11-09T11:05:20.610" v="403" actId="14100"/>
          <ac:picMkLst>
            <pc:docMk/>
            <pc:sldMk cId="683931030" sldId="1181"/>
            <ac:picMk id="6" creationId="{E127D0C0-02A0-0402-A08D-FFAF3226D139}"/>
          </ac:picMkLst>
        </pc:picChg>
      </pc:sldChg>
      <pc:sldChg chg="addSp modSp mod">
        <pc:chgData name="Tony M P" userId="ae1e3ab533ed63fd" providerId="LiveId" clId="{37909BD4-7748-4B36-BA7A-F9F3C9E8C7CB}" dt="2022-11-09T07:14:29.897" v="383" actId="1076"/>
        <pc:sldMkLst>
          <pc:docMk/>
          <pc:sldMk cId="1820060513" sldId="1182"/>
        </pc:sldMkLst>
        <pc:picChg chg="add mod">
          <ac:chgData name="Tony M P" userId="ae1e3ab533ed63fd" providerId="LiveId" clId="{37909BD4-7748-4B36-BA7A-F9F3C9E8C7CB}" dt="2022-11-09T07:14:29.897" v="383" actId="1076"/>
          <ac:picMkLst>
            <pc:docMk/>
            <pc:sldMk cId="1820060513" sldId="1182"/>
            <ac:picMk id="5" creationId="{A3A7D525-6A86-7F19-BBD0-0DA66652C6EA}"/>
          </ac:picMkLst>
        </pc:picChg>
      </pc:sldChg>
      <pc:sldChg chg="addSp modSp mod">
        <pc:chgData name="Tony M P" userId="ae1e3ab533ed63fd" providerId="LiveId" clId="{37909BD4-7748-4B36-BA7A-F9F3C9E8C7CB}" dt="2022-11-09T07:15:19.588" v="387" actId="14100"/>
        <pc:sldMkLst>
          <pc:docMk/>
          <pc:sldMk cId="3143787187" sldId="1183"/>
        </pc:sldMkLst>
        <pc:picChg chg="add mod">
          <ac:chgData name="Tony M P" userId="ae1e3ab533ed63fd" providerId="LiveId" clId="{37909BD4-7748-4B36-BA7A-F9F3C9E8C7CB}" dt="2022-11-09T07:15:19.588" v="387" actId="14100"/>
          <ac:picMkLst>
            <pc:docMk/>
            <pc:sldMk cId="3143787187" sldId="1183"/>
            <ac:picMk id="5" creationId="{198D530B-55AA-8890-972F-3505D5FC945C}"/>
          </ac:picMkLst>
        </pc:picChg>
      </pc:sldChg>
      <pc:sldChg chg="addSp modSp mod">
        <pc:chgData name="Tony M P" userId="ae1e3ab533ed63fd" providerId="LiveId" clId="{37909BD4-7748-4B36-BA7A-F9F3C9E8C7CB}" dt="2022-11-09T07:13:09.013" v="377" actId="14100"/>
        <pc:sldMkLst>
          <pc:docMk/>
          <pc:sldMk cId="752205145" sldId="1184"/>
        </pc:sldMkLst>
        <pc:picChg chg="add mod">
          <ac:chgData name="Tony M P" userId="ae1e3ab533ed63fd" providerId="LiveId" clId="{37909BD4-7748-4B36-BA7A-F9F3C9E8C7CB}" dt="2022-11-09T07:13:09.013" v="377" actId="14100"/>
          <ac:picMkLst>
            <pc:docMk/>
            <pc:sldMk cId="752205145" sldId="1184"/>
            <ac:picMk id="5" creationId="{59532D94-0030-AFB0-A16A-4CD33D38241A}"/>
          </ac:picMkLst>
        </pc:picChg>
      </pc:sldChg>
      <pc:sldChg chg="addSp modSp mod">
        <pc:chgData name="Tony M P" userId="ae1e3ab533ed63fd" providerId="LiveId" clId="{37909BD4-7748-4B36-BA7A-F9F3C9E8C7CB}" dt="2022-11-09T07:13:49.880" v="381" actId="14100"/>
        <pc:sldMkLst>
          <pc:docMk/>
          <pc:sldMk cId="3941037031" sldId="1185"/>
        </pc:sldMkLst>
        <pc:picChg chg="add mod">
          <ac:chgData name="Tony M P" userId="ae1e3ab533ed63fd" providerId="LiveId" clId="{37909BD4-7748-4B36-BA7A-F9F3C9E8C7CB}" dt="2022-11-09T07:13:49.880" v="381" actId="14100"/>
          <ac:picMkLst>
            <pc:docMk/>
            <pc:sldMk cId="3941037031" sldId="1185"/>
            <ac:picMk id="5" creationId="{70114418-1A9A-28F1-7731-A002610CA878}"/>
          </ac:picMkLst>
        </pc:picChg>
      </pc:sldChg>
      <pc:sldChg chg="addSp delSp modSp mod">
        <pc:chgData name="Tony M P" userId="ae1e3ab533ed63fd" providerId="LiveId" clId="{37909BD4-7748-4B36-BA7A-F9F3C9E8C7CB}" dt="2022-11-09T09:43:18.362" v="397" actId="14100"/>
        <pc:sldMkLst>
          <pc:docMk/>
          <pc:sldMk cId="3294734856" sldId="1186"/>
        </pc:sldMkLst>
        <pc:spChg chg="del">
          <ac:chgData name="Tony M P" userId="ae1e3ab533ed63fd" providerId="LiveId" clId="{37909BD4-7748-4B36-BA7A-F9F3C9E8C7CB}" dt="2022-11-09T07:44:31.082" v="390" actId="478"/>
          <ac:spMkLst>
            <pc:docMk/>
            <pc:sldMk cId="3294734856" sldId="1186"/>
            <ac:spMk id="3" creationId="{00000000-0000-0000-0000-000000000000}"/>
          </ac:spMkLst>
        </pc:spChg>
        <pc:picChg chg="add mod">
          <ac:chgData name="Tony M P" userId="ae1e3ab533ed63fd" providerId="LiveId" clId="{37909BD4-7748-4B36-BA7A-F9F3C9E8C7CB}" dt="2022-11-09T09:43:18.362" v="397" actId="14100"/>
          <ac:picMkLst>
            <pc:docMk/>
            <pc:sldMk cId="3294734856" sldId="1186"/>
            <ac:picMk id="3" creationId="{F0D57549-25ED-48B9-ACC7-5B83982C58F2}"/>
          </ac:picMkLst>
        </pc:picChg>
      </pc:sldChg>
      <pc:sldChg chg="addSp delSp modSp del mod">
        <pc:chgData name="Tony M P" userId="ae1e3ab533ed63fd" providerId="LiveId" clId="{37909BD4-7748-4B36-BA7A-F9F3C9E8C7CB}" dt="2022-11-09T12:15:44.206" v="508" actId="47"/>
        <pc:sldMkLst>
          <pc:docMk/>
          <pc:sldMk cId="3803594236" sldId="1187"/>
        </pc:sldMkLst>
        <pc:picChg chg="add del mod">
          <ac:chgData name="Tony M P" userId="ae1e3ab533ed63fd" providerId="LiveId" clId="{37909BD4-7748-4B36-BA7A-F9F3C9E8C7CB}" dt="2022-11-09T12:11:34.358" v="459" actId="478"/>
          <ac:picMkLst>
            <pc:docMk/>
            <pc:sldMk cId="3803594236" sldId="1187"/>
            <ac:picMk id="3" creationId="{861BE4A9-BEB9-DA72-DFB9-D059D46E5FF1}"/>
          </ac:picMkLst>
        </pc:picChg>
        <pc:picChg chg="del">
          <ac:chgData name="Tony M P" userId="ae1e3ab533ed63fd" providerId="LiveId" clId="{37909BD4-7748-4B36-BA7A-F9F3C9E8C7CB}" dt="2022-11-09T11:15:15.148" v="404" actId="478"/>
          <ac:picMkLst>
            <pc:docMk/>
            <pc:sldMk cId="3803594236" sldId="1187"/>
            <ac:picMk id="5" creationId="{A44E58B7-5844-A651-A248-CB087ADBBA38}"/>
          </ac:picMkLst>
        </pc:picChg>
      </pc:sldChg>
      <pc:sldChg chg="addSp delSp modSp mod">
        <pc:chgData name="Tony M P" userId="ae1e3ab533ed63fd" providerId="LiveId" clId="{37909BD4-7748-4B36-BA7A-F9F3C9E8C7CB}" dt="2022-11-09T11:54:12.946" v="452" actId="1076"/>
        <pc:sldMkLst>
          <pc:docMk/>
          <pc:sldMk cId="2215733314" sldId="1188"/>
        </pc:sldMkLst>
        <pc:spChg chg="mod">
          <ac:chgData name="Tony M P" userId="ae1e3ab533ed63fd" providerId="LiveId" clId="{37909BD4-7748-4B36-BA7A-F9F3C9E8C7CB}" dt="2022-11-09T11:53:16.458" v="449" actId="20577"/>
          <ac:spMkLst>
            <pc:docMk/>
            <pc:sldMk cId="2215733314" sldId="1188"/>
            <ac:spMk id="2" creationId="{4BC799D2-5201-4330-9C8D-74D2FCE087A1}"/>
          </ac:spMkLst>
        </pc:spChg>
        <pc:picChg chg="del">
          <ac:chgData name="Tony M P" userId="ae1e3ab533ed63fd" providerId="LiveId" clId="{37909BD4-7748-4B36-BA7A-F9F3C9E8C7CB}" dt="2022-11-09T11:53:10.466" v="442" actId="478"/>
          <ac:picMkLst>
            <pc:docMk/>
            <pc:sldMk cId="2215733314" sldId="1188"/>
            <ac:picMk id="3" creationId="{D4E2FBF7-C6E6-47D0-9597-B8BB72C74A1B}"/>
          </ac:picMkLst>
        </pc:picChg>
        <pc:picChg chg="add mod">
          <ac:chgData name="Tony M P" userId="ae1e3ab533ed63fd" providerId="LiveId" clId="{37909BD4-7748-4B36-BA7A-F9F3C9E8C7CB}" dt="2022-11-09T11:54:12.946" v="452" actId="1076"/>
          <ac:picMkLst>
            <pc:docMk/>
            <pc:sldMk cId="2215733314" sldId="1188"/>
            <ac:picMk id="6" creationId="{73F56E99-D9C1-5FC2-77A9-87ADFF65723D}"/>
          </ac:picMkLst>
        </pc:picChg>
      </pc:sldChg>
      <pc:sldChg chg="addSp modSp mod">
        <pc:chgData name="Tony M P" userId="ae1e3ab533ed63fd" providerId="LiveId" clId="{37909BD4-7748-4B36-BA7A-F9F3C9E8C7CB}" dt="2022-11-09T11:55:03.290" v="454" actId="1076"/>
        <pc:sldMkLst>
          <pc:docMk/>
          <pc:sldMk cId="3906989634" sldId="1189"/>
        </pc:sldMkLst>
        <pc:picChg chg="add mod">
          <ac:chgData name="Tony M P" userId="ae1e3ab533ed63fd" providerId="LiveId" clId="{37909BD4-7748-4B36-BA7A-F9F3C9E8C7CB}" dt="2022-11-09T11:55:03.290" v="454" actId="1076"/>
          <ac:picMkLst>
            <pc:docMk/>
            <pc:sldMk cId="3906989634" sldId="1189"/>
            <ac:picMk id="5" creationId="{05838173-2A91-5C40-5972-0AD3E004D219}"/>
          </ac:picMkLst>
        </pc:picChg>
      </pc:sldChg>
      <pc:sldChg chg="addSp delSp modSp mod">
        <pc:chgData name="Tony M P" userId="ae1e3ab533ed63fd" providerId="LiveId" clId="{37909BD4-7748-4B36-BA7A-F9F3C9E8C7CB}" dt="2022-11-09T12:15:37.001" v="507" actId="14100"/>
        <pc:sldMkLst>
          <pc:docMk/>
          <pc:sldMk cId="1241698823" sldId="1190"/>
        </pc:sldMkLst>
        <pc:spChg chg="mod">
          <ac:chgData name="Tony M P" userId="ae1e3ab533ed63fd" providerId="LiveId" clId="{37909BD4-7748-4B36-BA7A-F9F3C9E8C7CB}" dt="2022-11-09T12:14:10.741" v="503" actId="20577"/>
          <ac:spMkLst>
            <pc:docMk/>
            <pc:sldMk cId="1241698823" sldId="1190"/>
            <ac:spMk id="2" creationId="{4BC799D2-5201-4330-9C8D-74D2FCE087A1}"/>
          </ac:spMkLst>
        </pc:spChg>
        <pc:picChg chg="del">
          <ac:chgData name="Tony M P" userId="ae1e3ab533ed63fd" providerId="LiveId" clId="{37909BD4-7748-4B36-BA7A-F9F3C9E8C7CB}" dt="2022-11-09T12:11:31.305" v="458" actId="478"/>
          <ac:picMkLst>
            <pc:docMk/>
            <pc:sldMk cId="1241698823" sldId="1190"/>
            <ac:picMk id="3" creationId="{861BE4A9-BEB9-DA72-DFB9-D059D46E5FF1}"/>
          </ac:picMkLst>
        </pc:picChg>
        <pc:picChg chg="add mod">
          <ac:chgData name="Tony M P" userId="ae1e3ab533ed63fd" providerId="LiveId" clId="{37909BD4-7748-4B36-BA7A-F9F3C9E8C7CB}" dt="2022-11-09T12:15:37.001" v="507" actId="14100"/>
          <ac:picMkLst>
            <pc:docMk/>
            <pc:sldMk cId="1241698823" sldId="1190"/>
            <ac:picMk id="6" creationId="{DAFC9E5D-789F-9EAB-AACD-C7491D778718}"/>
          </ac:picMkLst>
        </pc:picChg>
      </pc:sldChg>
      <pc:sldChg chg="addSp delSp modSp mod">
        <pc:chgData name="Tony M P" userId="ae1e3ab533ed63fd" providerId="LiveId" clId="{37909BD4-7748-4B36-BA7A-F9F3C9E8C7CB}" dt="2022-11-09T12:13:41.310" v="491" actId="14100"/>
        <pc:sldMkLst>
          <pc:docMk/>
          <pc:sldMk cId="466890370" sldId="1191"/>
        </pc:sldMkLst>
        <pc:spChg chg="mod">
          <ac:chgData name="Tony M P" userId="ae1e3ab533ed63fd" providerId="LiveId" clId="{37909BD4-7748-4B36-BA7A-F9F3C9E8C7CB}" dt="2022-11-09T12:12:00.959" v="487" actId="20577"/>
          <ac:spMkLst>
            <pc:docMk/>
            <pc:sldMk cId="466890370" sldId="1191"/>
            <ac:spMk id="2" creationId="{4BC799D2-5201-4330-9C8D-74D2FCE087A1}"/>
          </ac:spMkLst>
        </pc:spChg>
        <pc:picChg chg="del mod">
          <ac:chgData name="Tony M P" userId="ae1e3ab533ed63fd" providerId="LiveId" clId="{37909BD4-7748-4B36-BA7A-F9F3C9E8C7CB}" dt="2022-11-09T12:11:28.611" v="457" actId="478"/>
          <ac:picMkLst>
            <pc:docMk/>
            <pc:sldMk cId="466890370" sldId="1191"/>
            <ac:picMk id="3" creationId="{861BE4A9-BEB9-DA72-DFB9-D059D46E5FF1}"/>
          </ac:picMkLst>
        </pc:picChg>
        <pc:picChg chg="add mod">
          <ac:chgData name="Tony M P" userId="ae1e3ab533ed63fd" providerId="LiveId" clId="{37909BD4-7748-4B36-BA7A-F9F3C9E8C7CB}" dt="2022-11-09T12:13:41.310" v="491" actId="14100"/>
          <ac:picMkLst>
            <pc:docMk/>
            <pc:sldMk cId="466890370" sldId="1191"/>
            <ac:picMk id="6" creationId="{04BCB247-8F5B-381D-0F3F-956A8282C769}"/>
          </ac:picMkLst>
        </pc:picChg>
      </pc:sldChg>
    </pc:docChg>
  </pc:docChgLst>
  <pc:docChgLst>
    <pc:chgData name="Tony M P" userId="ae1e3ab533ed63fd" providerId="LiveId" clId="{DA7A563F-DEAD-4597-B2F2-2D1664FE9439}"/>
    <pc:docChg chg="custSel modSld">
      <pc:chgData name="Tony M P" userId="ae1e3ab533ed63fd" providerId="LiveId" clId="{DA7A563F-DEAD-4597-B2F2-2D1664FE9439}" dt="2022-09-29T07:12:17.691" v="10"/>
      <pc:docMkLst>
        <pc:docMk/>
      </pc:docMkLst>
      <pc:sldChg chg="modTransition">
        <pc:chgData name="Tony M P" userId="ae1e3ab533ed63fd" providerId="LiveId" clId="{DA7A563F-DEAD-4597-B2F2-2D1664FE9439}" dt="2022-09-29T07:12:11.731" v="9"/>
        <pc:sldMkLst>
          <pc:docMk/>
          <pc:sldMk cId="2298963138" sldId="490"/>
        </pc:sldMkLst>
      </pc:sldChg>
      <pc:sldChg chg="addSp delSp mod">
        <pc:chgData name="Tony M P" userId="ae1e3ab533ed63fd" providerId="LiveId" clId="{DA7A563F-DEAD-4597-B2F2-2D1664FE9439}" dt="2022-09-29T07:04:08.506" v="1" actId="478"/>
        <pc:sldMkLst>
          <pc:docMk/>
          <pc:sldMk cId="2298963138" sldId="511"/>
        </pc:sldMkLst>
        <pc:picChg chg="add del">
          <ac:chgData name="Tony M P" userId="ae1e3ab533ed63fd" providerId="LiveId" clId="{DA7A563F-DEAD-4597-B2F2-2D1664FE9439}" dt="2022-09-29T07:04:08.506" v="1" actId="478"/>
          <ac:picMkLst>
            <pc:docMk/>
            <pc:sldMk cId="2298963138" sldId="511"/>
            <ac:picMk id="2" creationId="{A4D16F47-C19E-7C5A-DDB1-08F8F36F3A92}"/>
          </ac:picMkLst>
        </pc:picChg>
      </pc:sldChg>
      <pc:sldChg chg="addSp delSp modSp mod modTransition">
        <pc:chgData name="Tony M P" userId="ae1e3ab533ed63fd" providerId="LiveId" clId="{DA7A563F-DEAD-4597-B2F2-2D1664FE9439}" dt="2022-09-29T07:12:17.691" v="10"/>
        <pc:sldMkLst>
          <pc:docMk/>
          <pc:sldMk cId="3175568609" sldId="692"/>
        </pc:sldMkLst>
        <pc:spChg chg="del mod">
          <ac:chgData name="Tony M P" userId="ae1e3ab533ed63fd" providerId="LiveId" clId="{DA7A563F-DEAD-4597-B2F2-2D1664FE9439}" dt="2022-09-29T07:04:28.381" v="7"/>
          <ac:spMkLst>
            <pc:docMk/>
            <pc:sldMk cId="3175568609" sldId="692"/>
            <ac:spMk id="3" creationId="{00000000-0000-0000-0000-000000000000}"/>
          </ac:spMkLst>
        </pc:spChg>
        <pc:picChg chg="add">
          <ac:chgData name="Tony M P" userId="ae1e3ab533ed63fd" providerId="LiveId" clId="{DA7A563F-DEAD-4597-B2F2-2D1664FE9439}" dt="2022-09-29T07:06:17.515" v="8"/>
          <ac:picMkLst>
            <pc:docMk/>
            <pc:sldMk cId="3175568609" sldId="692"/>
            <ac:picMk id="2" creationId="{2303D89D-D9AB-CD26-5A5C-8413B67B4471}"/>
          </ac:picMkLst>
        </pc:picChg>
        <pc:picChg chg="del mod">
          <ac:chgData name="Tony M P" userId="ae1e3ab533ed63fd" providerId="LiveId" clId="{DA7A563F-DEAD-4597-B2F2-2D1664FE9439}" dt="2022-09-29T07:04:21.238" v="3" actId="478"/>
          <ac:picMkLst>
            <pc:docMk/>
            <pc:sldMk cId="3175568609" sldId="692"/>
            <ac:picMk id="4" creationId="{89B7E146-91AF-4B31-8DBE-D47E3E01E52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C3F097-5EC1-42D9-BC3F-6790361643DC}" type="datetimeFigureOut">
              <a:rPr lang="en-IN" smtClean="0"/>
              <a:pPr/>
              <a:t>15-12-2023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7AD0F-E085-4C0B-8F74-FDB3CFFA883C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8328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3633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1913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787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2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35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104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95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1910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6576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0908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6844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43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9840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98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059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1987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9601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199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9840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1544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5280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009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2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780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6922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936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1738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2571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6702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3473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3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54132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4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5374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5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9157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6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692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6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984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1176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7" name="Google Shape;8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3" name="Google Shape;9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0" name="Google Shape;10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6" name="Google Shape;10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2" name="Google Shape;11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18" name="Google Shape;11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24" name="Google Shape;124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0" name="Google Shape;13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7" name="Google Shape;13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7486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3" name="Google Shape;14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9" name="Google Shape;14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55" name="Google Shape;15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61" name="Google Shape;161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67" name="Google Shape;16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4" name="Google Shape;17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80" name="Google Shape;18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86" name="Google Shape;186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91" name="Google Shape;19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96" name="Google Shape;19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82211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3584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1043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1579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6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67185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2281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92792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12931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89605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531548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448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06592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427497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55689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69217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19610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519090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007988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422226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323834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86297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135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78990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0579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340551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570304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632235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0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01116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33175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026142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855040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13778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4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5051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793698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829852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606091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7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959416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170805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19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95554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dirty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86746E-D7E0-46C7-98A8-BBADE40082AC}" type="slidenum">
              <a:rPr lang="en-US" altLang="en-US" smtClean="0">
                <a:solidFill>
                  <a:prstClr val="black"/>
                </a:solidFill>
              </a:rPr>
              <a:pPr/>
              <a:t>12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297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sp>
        <p:nvSpPr>
          <p:cNvPr id="15" name="Title 5"/>
          <p:cNvSpPr>
            <a:spLocks noGrp="1"/>
          </p:cNvSpPr>
          <p:nvPr>
            <p:ph type="title" hasCustomPrompt="1"/>
          </p:nvPr>
        </p:nvSpPr>
        <p:spPr>
          <a:xfrm>
            <a:off x="3756502" y="3529936"/>
            <a:ext cx="4678996" cy="60517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idx="1" hasCustomPrompt="1"/>
          </p:nvPr>
        </p:nvSpPr>
        <p:spPr>
          <a:xfrm>
            <a:off x="3756502" y="4147993"/>
            <a:ext cx="4678996" cy="42940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-title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212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sp>
        <p:nvSpPr>
          <p:cNvPr id="12" name="Oval 15"/>
          <p:cNvSpPr>
            <a:spLocks noChangeArrowheads="1"/>
          </p:cNvSpPr>
          <p:nvPr/>
        </p:nvSpPr>
        <p:spPr bwMode="auto">
          <a:xfrm>
            <a:off x="11644845" y="6415085"/>
            <a:ext cx="244475" cy="25558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E3FFA94-08EF-41C4-98AB-078EB231D91E}" type="slidenum">
              <a:rPr lang="en-US" altLang="en-US" sz="1000" b="0">
                <a:solidFill>
                  <a:srgbClr val="FFFFFF"/>
                </a:solidFill>
              </a:rPr>
              <a:pPr algn="ctr" eaLnBrk="1" hangingPunct="1"/>
              <a:t>‹#›</a:t>
            </a:fld>
            <a:endParaRPr lang="en-US" altLang="en-US" sz="1000" b="0" dirty="0">
              <a:solidFill>
                <a:srgbClr val="FFFFFF"/>
              </a:solidFill>
            </a:endParaRPr>
          </a:p>
        </p:txBody>
      </p:sp>
      <p:sp>
        <p:nvSpPr>
          <p:cNvPr id="13" name="Title 5"/>
          <p:cNvSpPr>
            <a:spLocks noGrp="1"/>
          </p:cNvSpPr>
          <p:nvPr>
            <p:ph type="title" hasCustomPrompt="1"/>
          </p:nvPr>
        </p:nvSpPr>
        <p:spPr>
          <a:xfrm>
            <a:off x="1988212" y="3075797"/>
            <a:ext cx="8215576" cy="55640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6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opic here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idx="1" hasCustomPrompt="1"/>
          </p:nvPr>
        </p:nvSpPr>
        <p:spPr>
          <a:xfrm>
            <a:off x="1988212" y="3693854"/>
            <a:ext cx="8215576" cy="370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opic sub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651" y="192082"/>
            <a:ext cx="1436756" cy="66053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405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996"/>
            <a:ext cx="12192000" cy="6858000"/>
          </a:xfrm>
          <a:prstGeom prst="rect">
            <a:avLst/>
          </a:prstGeom>
        </p:spPr>
      </p:pic>
      <p:sp>
        <p:nvSpPr>
          <p:cNvPr id="5" name="Oval 15"/>
          <p:cNvSpPr>
            <a:spLocks noChangeArrowheads="1"/>
          </p:cNvSpPr>
          <p:nvPr/>
        </p:nvSpPr>
        <p:spPr bwMode="auto">
          <a:xfrm>
            <a:off x="11644845" y="6415085"/>
            <a:ext cx="244475" cy="25558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E3FFA94-08EF-41C4-98AB-078EB231D91E}" type="slidenum">
              <a:rPr lang="en-US" altLang="en-US" sz="1000" b="0">
                <a:solidFill>
                  <a:srgbClr val="FFFFFF"/>
                </a:solidFill>
              </a:rPr>
              <a:pPr algn="ctr" eaLnBrk="1" hangingPunct="1"/>
              <a:t>‹#›</a:t>
            </a:fld>
            <a:endParaRPr lang="en-US" altLang="en-US" sz="1000" b="0" dirty="0">
              <a:solidFill>
                <a:srgbClr val="FFFFFF"/>
              </a:solidFill>
            </a:endParaRPr>
          </a:p>
        </p:txBody>
      </p:sp>
      <p:sp>
        <p:nvSpPr>
          <p:cNvPr id="6" name="Content Placeholder 6"/>
          <p:cNvSpPr>
            <a:spLocks noGrp="1"/>
          </p:cNvSpPr>
          <p:nvPr>
            <p:ph idx="1" hasCustomPrompt="1"/>
          </p:nvPr>
        </p:nvSpPr>
        <p:spPr>
          <a:xfrm>
            <a:off x="611263" y="1611064"/>
            <a:ext cx="10931978" cy="43664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lnSpc>
                <a:spcPct val="100000"/>
              </a:lnSpc>
              <a:spcBef>
                <a:spcPts val="120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4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4" name="Rectangle 13"/>
          <p:cNvSpPr/>
          <p:nvPr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1431392"/>
            <a:ext cx="12192000" cy="0"/>
          </a:xfrm>
          <a:prstGeom prst="line">
            <a:avLst/>
          </a:prstGeom>
          <a:ln w="12700" cmpd="dbl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651" y="192082"/>
            <a:ext cx="1436756" cy="6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111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sp>
        <p:nvSpPr>
          <p:cNvPr id="24" name="Oval 15"/>
          <p:cNvSpPr>
            <a:spLocks noChangeArrowheads="1"/>
          </p:cNvSpPr>
          <p:nvPr/>
        </p:nvSpPr>
        <p:spPr bwMode="auto">
          <a:xfrm>
            <a:off x="11644845" y="6415085"/>
            <a:ext cx="244475" cy="25558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E3FFA94-08EF-41C4-98AB-078EB231D91E}" type="slidenum">
              <a:rPr lang="en-US" altLang="en-US" sz="1000" b="0">
                <a:solidFill>
                  <a:srgbClr val="FFFFFF"/>
                </a:solidFill>
              </a:rPr>
              <a:pPr algn="ctr" eaLnBrk="1" hangingPunct="1"/>
              <a:t>‹#›</a:t>
            </a:fld>
            <a:endParaRPr lang="en-US" altLang="en-US" sz="1000" b="0" dirty="0">
              <a:solidFill>
                <a:srgbClr val="FFFFFF"/>
              </a:solidFill>
            </a:endParaRPr>
          </a:p>
        </p:txBody>
      </p:sp>
      <p:sp>
        <p:nvSpPr>
          <p:cNvPr id="25" name="Content Placeholder 6"/>
          <p:cNvSpPr>
            <a:spLocks noGrp="1"/>
          </p:cNvSpPr>
          <p:nvPr>
            <p:ph idx="1" hasCustomPrompt="1"/>
          </p:nvPr>
        </p:nvSpPr>
        <p:spPr>
          <a:xfrm>
            <a:off x="611263" y="1611064"/>
            <a:ext cx="5112204" cy="43664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lnSpc>
                <a:spcPct val="100000"/>
              </a:lnSpc>
              <a:spcBef>
                <a:spcPts val="120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ent here</a:t>
            </a:r>
            <a:endParaRPr lang="en-IN" dirty="0"/>
          </a:p>
        </p:txBody>
      </p:sp>
      <p:sp>
        <p:nvSpPr>
          <p:cNvPr id="28" name="Rectangle 27"/>
          <p:cNvSpPr/>
          <p:nvPr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idx="10" hasCustomPrompt="1"/>
          </p:nvPr>
        </p:nvSpPr>
        <p:spPr>
          <a:xfrm>
            <a:off x="6418739" y="1611064"/>
            <a:ext cx="5112204" cy="4366400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lnSpc>
                <a:spcPct val="100000"/>
              </a:lnSpc>
              <a:spcBef>
                <a:spcPts val="120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ent here</a:t>
            </a:r>
            <a:endParaRPr lang="en-IN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651" y="192082"/>
            <a:ext cx="1436756" cy="660538"/>
          </a:xfrm>
          <a:prstGeom prst="rect">
            <a:avLst/>
          </a:prstGeom>
        </p:spPr>
      </p:pic>
      <p:sp>
        <p:nvSpPr>
          <p:cNvPr id="16" name="Title 5"/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4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0" y="1431392"/>
            <a:ext cx="12192000" cy="0"/>
          </a:xfrm>
          <a:prstGeom prst="line">
            <a:avLst/>
          </a:prstGeom>
          <a:ln w="12700" cmpd="dbl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9705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86659" y="1665518"/>
            <a:ext cx="11469309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4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1431392"/>
            <a:ext cx="12192000" cy="0"/>
          </a:xfrm>
          <a:prstGeom prst="line">
            <a:avLst/>
          </a:prstGeom>
          <a:ln w="12700" cmpd="dbl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6607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7"/>
          <p:cNvSpPr txBox="1">
            <a:spLocks noChangeArrowheads="1"/>
          </p:cNvSpPr>
          <p:nvPr userDrawn="1"/>
        </p:nvSpPr>
        <p:spPr bwMode="auto">
          <a:xfrm>
            <a:off x="0" y="6643688"/>
            <a:ext cx="232948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© Tally Solutions Pvt. Ltd. All Rights Reserved </a:t>
            </a:r>
          </a:p>
        </p:txBody>
      </p:sp>
      <p:pic>
        <p:nvPicPr>
          <p:cNvPr id="16" name="Picture 12" descr="\\ganeshji\temp\Guru\Tally logo\Tallylogo_center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1573" y="111354"/>
            <a:ext cx="2015067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8"/>
          <p:cNvSpPr>
            <a:spLocks noChangeArrowheads="1"/>
          </p:cNvSpPr>
          <p:nvPr userDrawn="1"/>
        </p:nvSpPr>
        <p:spPr bwMode="auto">
          <a:xfrm>
            <a:off x="63502" y="6651628"/>
            <a:ext cx="12069233" cy="180975"/>
          </a:xfrm>
          <a:prstGeom prst="rect">
            <a:avLst/>
          </a:prstGeom>
          <a:solidFill>
            <a:srgbClr val="03979D"/>
          </a:solidFill>
          <a:ln w="9525" algn="ctr">
            <a:solidFill>
              <a:srgbClr val="03979D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rgbClr val="000000"/>
                </a:solidFill>
              </a:rPr>
              <a:t>  </a:t>
            </a:r>
          </a:p>
        </p:txBody>
      </p:sp>
      <p:sp>
        <p:nvSpPr>
          <p:cNvPr id="13" name="Oval 26"/>
          <p:cNvSpPr>
            <a:spLocks noChangeArrowheads="1"/>
          </p:cNvSpPr>
          <p:nvPr userDrawn="1"/>
        </p:nvSpPr>
        <p:spPr bwMode="auto">
          <a:xfrm>
            <a:off x="11755969" y="6611941"/>
            <a:ext cx="325967" cy="25558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B42F095F-CFD4-4C9D-84CE-D1AC85430F2D}" type="slidenum">
              <a:rPr lang="en-US" altLang="en-US" sz="1200" b="1">
                <a:solidFill>
                  <a:srgbClr val="FFFFFF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200" b="1" dirty="0">
              <a:solidFill>
                <a:srgbClr val="FFFFFF"/>
              </a:solidFill>
            </a:endParaRPr>
          </a:p>
        </p:txBody>
      </p:sp>
      <p:sp>
        <p:nvSpPr>
          <p:cNvPr id="14" name="Text Box 7"/>
          <p:cNvSpPr txBox="1">
            <a:spLocks noChangeArrowheads="1"/>
          </p:cNvSpPr>
          <p:nvPr userDrawn="1"/>
        </p:nvSpPr>
        <p:spPr bwMode="auto">
          <a:xfrm>
            <a:off x="-10584" y="6651626"/>
            <a:ext cx="232948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Arial" charset="0"/>
                <a:cs typeface="Arial" panose="020B0604020202020204" pitchFamily="34" charset="0"/>
              </a:rPr>
              <a:t>© Tally Solutions Pvt. Ltd. All Rights Reserved </a:t>
            </a:r>
          </a:p>
        </p:txBody>
      </p:sp>
      <p:sp>
        <p:nvSpPr>
          <p:cNvPr id="15" name="Text Box 7"/>
          <p:cNvSpPr txBox="1">
            <a:spLocks noChangeArrowheads="1"/>
          </p:cNvSpPr>
          <p:nvPr userDrawn="1"/>
        </p:nvSpPr>
        <p:spPr bwMode="auto">
          <a:xfrm>
            <a:off x="10201915" y="6632009"/>
            <a:ext cx="12410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Arial" charset="0"/>
                <a:cs typeface="Arial" panose="020B0604020202020204" pitchFamily="34" charset="0"/>
              </a:rPr>
              <a:t>Business Presentation 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0927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86659" y="1988843"/>
            <a:ext cx="11469309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defRPr>
                <a:latin typeface="Calibri" panose="020F0502020204030204" pitchFamily="34" charset="0"/>
              </a:defRPr>
            </a:lvl1pPr>
            <a:lvl2pPr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defRPr>
                <a:latin typeface="Calibri" panose="020F0502020204030204" pitchFamily="34" charset="0"/>
              </a:defRPr>
            </a:lvl2pPr>
            <a:lvl3pPr>
              <a:spcBef>
                <a:spcPts val="0"/>
              </a:spcBef>
              <a:spcAft>
                <a:spcPts val="1800"/>
              </a:spcAft>
              <a:defRPr>
                <a:latin typeface="Calibri" panose="020F0502020204030204" pitchFamily="34" charset="0"/>
              </a:defRPr>
            </a:lvl3pPr>
            <a:lvl4pPr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defRPr sz="1400">
                <a:latin typeface="Calibri" panose="020F0502020204030204" pitchFamily="34" charset="0"/>
              </a:defRPr>
            </a:lvl4pPr>
            <a:lvl5pPr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4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431392"/>
            <a:ext cx="12192000" cy="0"/>
          </a:xfrm>
          <a:prstGeom prst="line">
            <a:avLst/>
          </a:prstGeom>
          <a:ln w="12700" cmpd="dbl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4732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0989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3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6264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"/>
            <a:ext cx="12192000" cy="1224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2660" y="6739949"/>
            <a:ext cx="12192000" cy="1224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651" y="192082"/>
            <a:ext cx="1436756" cy="6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808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1" r:id="rId5"/>
    <p:sldLayoutId id="2147483672" r:id="rId6"/>
    <p:sldLayoutId id="2147483679" r:id="rId7"/>
    <p:sldLayoutId id="2147483680" r:id="rId8"/>
    <p:sldLayoutId id="2147483681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6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6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6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6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2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6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5.pn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7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6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6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2.pn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6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6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6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6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6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6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0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9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9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9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9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3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8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1.png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6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 dirty="0">
                <a:solidFill>
                  <a:srgbClr val="7030A0"/>
                </a:solidFill>
                <a:latin typeface="Calibri" panose="020F0502020204030204" pitchFamily="34" charset="0"/>
              </a:rPr>
              <a:t>Institute of Chartered Accountants of Indi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Kottayam Branch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FF0000"/>
                </a:solidFill>
                <a:latin typeface="Calibri" panose="020F0502020204030204" pitchFamily="34" charset="0"/>
              </a:rPr>
              <a:t>Filing of GSTR 9 &amp; 9C for FY 2022-2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schemeClr val="tx1"/>
                </a:solidFill>
                <a:latin typeface="Calibri" panose="020F0502020204030204" pitchFamily="34" charset="0"/>
              </a:rPr>
              <a:t>15.12.2023</a:t>
            </a: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Tony M P, FC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412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400" b="1" dirty="0">
                <a:solidFill>
                  <a:srgbClr val="00B050"/>
                </a:solidFill>
              </a:rPr>
              <a:t>ITC Reversal on Account of Rule 37(A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89B4D8-4F63-667B-84D8-E7D9F65E17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454" y="1430311"/>
            <a:ext cx="11080787" cy="3997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18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FBE102E-5B03-B77C-F649-1BF45D7ADF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225" y="2538412"/>
            <a:ext cx="10877550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4F62E2D-D9D2-68C8-6778-C39E50EC03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1666875"/>
            <a:ext cx="10820400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88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DBCCC48-F4E2-3657-CED7-CA045E081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462" y="2533650"/>
            <a:ext cx="10887075" cy="179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21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907EDE6-B517-DE44-0A56-921CCB50C1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725" y="133350"/>
            <a:ext cx="10513749" cy="622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74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0946831-E79C-0FCB-E9CB-031FE3298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457200"/>
            <a:ext cx="10820400" cy="25908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39BDA5-7C67-A63B-0BC1-CE23148277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425" y="2952750"/>
            <a:ext cx="10772775" cy="3590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73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526ECD-09F7-6DC8-3B00-0568CDC71D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512" y="2514600"/>
            <a:ext cx="10848975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12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9C93959-CD6D-BF5E-0F9D-1FA5F90932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037" y="576263"/>
            <a:ext cx="10829925" cy="351948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033BD59-5675-FF0C-C800-0B4D015A4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187" y="4095751"/>
            <a:ext cx="10772775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50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2525938-9324-3E84-3C28-295B85F60E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637" y="347662"/>
            <a:ext cx="10753725" cy="39719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051520-EF7A-EBE8-46F0-E684435334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926" y="4252912"/>
            <a:ext cx="108204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86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75A00C9-9922-1F06-5C65-1346C1F4C2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225" y="2495550"/>
            <a:ext cx="11639550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54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BCC5523-61F5-57BD-D7BD-23AA350D7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050" y="85724"/>
            <a:ext cx="10915649" cy="661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10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400" b="1" dirty="0">
                <a:solidFill>
                  <a:srgbClr val="00B050"/>
                </a:solidFill>
              </a:rPr>
              <a:t>Introducing Electronic Credit Reversal and Reclaimed stat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B9E951B-DA65-3B1E-B8B1-BCC2B8A6C4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1855149"/>
            <a:ext cx="11550869" cy="352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9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6D77296-E2BE-A7ED-8EFD-8FEEC2C314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138237"/>
            <a:ext cx="11325225" cy="458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90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FF8420F-F905-8716-E000-B688A16F46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787" y="642937"/>
            <a:ext cx="9820275" cy="8477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50795C-07D2-3F0C-4182-6A15318D36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786" y="1423987"/>
            <a:ext cx="98202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28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AA6504-3CC4-2309-F3A1-C52EAD83A3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12" y="1562100"/>
            <a:ext cx="11306175" cy="329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29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F62C03A-98EA-FCAD-9597-986B4491E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24" y="323850"/>
            <a:ext cx="11630025" cy="542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10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8B0F14A-6792-4EB1-51B0-F62782A49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675" y="176212"/>
            <a:ext cx="11296650" cy="650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70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CB73605-4C09-B42C-084E-D86338E509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3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CB0B4B7-2A37-F27E-20E9-0609853F1D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5021" y="857250"/>
            <a:ext cx="933318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29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C80A2E-AB3E-4414-B6B8-224141D0C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86963" y="447675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4E788B-03F6-6218-E65A-31DC07CA8E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78EA19-0796-0507-0674-6E3211D2B9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112" y="128095"/>
            <a:ext cx="4370826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6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0D1DF3-64D3-E5FF-78B6-2019871EC0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131" y="809296"/>
            <a:ext cx="10773103" cy="5044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10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hank You </a:t>
            </a:r>
            <a:endParaRPr lang="en-US" sz="54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85834419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iling of GSTR 9 for FY 2022-2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C80A2E-AB3E-4414-B6B8-224141D0C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86963" y="447675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313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443576958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E813A6-1416-BE05-4151-A32298E9B7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B456584-C319-6127-8470-035FE59F33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9972" y="983703"/>
            <a:ext cx="2354318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746280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845016-F10E-4332-A9B7-2CB050D9BB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9743"/>
            <a:ext cx="12192000" cy="655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02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71073" y="684797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3CBAFAA-19AE-475C-88FC-6AE249BC25A9}"/>
              </a:ext>
            </a:extLst>
          </p:cNvPr>
          <p:cNvSpPr/>
          <p:nvPr/>
        </p:nvSpPr>
        <p:spPr>
          <a:xfrm>
            <a:off x="4054642" y="1010653"/>
            <a:ext cx="4150895" cy="51735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Data of FY 2022-23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E07AEC5-0055-400C-9AE9-FCDD7DDD7E41}"/>
              </a:ext>
            </a:extLst>
          </p:cNvPr>
          <p:cNvSpPr/>
          <p:nvPr/>
        </p:nvSpPr>
        <p:spPr>
          <a:xfrm>
            <a:off x="561474" y="1930067"/>
            <a:ext cx="4150895" cy="51735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Reported in 2022-23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27F552B-DC41-445A-AFA0-8C388C4109FE}"/>
              </a:ext>
            </a:extLst>
          </p:cNvPr>
          <p:cNvSpPr/>
          <p:nvPr/>
        </p:nvSpPr>
        <p:spPr>
          <a:xfrm>
            <a:off x="7094621" y="1990224"/>
            <a:ext cx="4150895" cy="51735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Reported in 2023-24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55530DE-6271-48F3-9052-EE7C7CEA61D0}"/>
              </a:ext>
            </a:extLst>
          </p:cNvPr>
          <p:cNvSpPr/>
          <p:nvPr/>
        </p:nvSpPr>
        <p:spPr>
          <a:xfrm>
            <a:off x="721894" y="3340769"/>
            <a:ext cx="1219201" cy="517358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3B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DFFF7B7-F6AA-463C-A7AE-40568B205446}"/>
              </a:ext>
            </a:extLst>
          </p:cNvPr>
          <p:cNvSpPr/>
          <p:nvPr/>
        </p:nvSpPr>
        <p:spPr>
          <a:xfrm>
            <a:off x="3479525" y="3340769"/>
            <a:ext cx="1319464" cy="51735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STR 1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70F5664-F76D-4162-ABFE-D136A94562C2}"/>
              </a:ext>
            </a:extLst>
          </p:cNvPr>
          <p:cNvSpPr/>
          <p:nvPr/>
        </p:nvSpPr>
        <p:spPr>
          <a:xfrm>
            <a:off x="10027891" y="3345782"/>
            <a:ext cx="1217625" cy="51735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STR 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A8111E3-BF52-48FB-9E83-BA802D6DE300}"/>
              </a:ext>
            </a:extLst>
          </p:cNvPr>
          <p:cNvSpPr/>
          <p:nvPr/>
        </p:nvSpPr>
        <p:spPr>
          <a:xfrm>
            <a:off x="7107440" y="3345782"/>
            <a:ext cx="1219201" cy="517358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3B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45353F8-E888-40FA-9852-E68EADF8F3CA}"/>
              </a:ext>
            </a:extLst>
          </p:cNvPr>
          <p:cNvSpPr/>
          <p:nvPr/>
        </p:nvSpPr>
        <p:spPr>
          <a:xfrm>
            <a:off x="1058779" y="5329989"/>
            <a:ext cx="3525253" cy="51735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GSTR 9 (Annual Return)</a:t>
            </a:r>
          </a:p>
          <a:p>
            <a:pPr algn="ctr"/>
            <a:r>
              <a:rPr lang="en-IN" dirty="0"/>
              <a:t>Tables 4 to 9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942B4C8-A67A-48E2-B8A3-F4022BF91B5B}"/>
              </a:ext>
            </a:extLst>
          </p:cNvPr>
          <p:cNvCxnSpPr/>
          <p:nvPr/>
        </p:nvCxnSpPr>
        <p:spPr>
          <a:xfrm>
            <a:off x="4391526" y="1528011"/>
            <a:ext cx="0" cy="3388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D63D1C8-4E5D-429B-B915-9DDD6D595A32}"/>
              </a:ext>
            </a:extLst>
          </p:cNvPr>
          <p:cNvCxnSpPr/>
          <p:nvPr/>
        </p:nvCxnSpPr>
        <p:spPr>
          <a:xfrm>
            <a:off x="7607970" y="1612232"/>
            <a:ext cx="0" cy="254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6F5A44F2-1036-4205-AA9F-541F5290E8A5}"/>
              </a:ext>
            </a:extLst>
          </p:cNvPr>
          <p:cNvCxnSpPr/>
          <p:nvPr/>
        </p:nvCxnSpPr>
        <p:spPr>
          <a:xfrm>
            <a:off x="1335505" y="2507582"/>
            <a:ext cx="0" cy="740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F7495D8-7D70-41AF-9941-9515DC4F941E}"/>
              </a:ext>
            </a:extLst>
          </p:cNvPr>
          <p:cNvCxnSpPr/>
          <p:nvPr/>
        </p:nvCxnSpPr>
        <p:spPr>
          <a:xfrm>
            <a:off x="4054642" y="2507582"/>
            <a:ext cx="0" cy="740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7F9FECA-B5C3-4BCE-B371-ED08205B010D}"/>
              </a:ext>
            </a:extLst>
          </p:cNvPr>
          <p:cNvCxnSpPr/>
          <p:nvPr/>
        </p:nvCxnSpPr>
        <p:spPr>
          <a:xfrm>
            <a:off x="7607970" y="2507582"/>
            <a:ext cx="0" cy="7409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84F10F-D3BD-47D7-99CA-28074167679C}"/>
              </a:ext>
            </a:extLst>
          </p:cNvPr>
          <p:cNvCxnSpPr/>
          <p:nvPr/>
        </p:nvCxnSpPr>
        <p:spPr>
          <a:xfrm>
            <a:off x="10479505" y="2622884"/>
            <a:ext cx="0" cy="6256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AB1C7D9-9403-4AFF-9A4D-3E18E5AF6477}"/>
              </a:ext>
            </a:extLst>
          </p:cNvPr>
          <p:cNvCxnSpPr/>
          <p:nvPr/>
        </p:nvCxnSpPr>
        <p:spPr>
          <a:xfrm>
            <a:off x="1335505" y="3958389"/>
            <a:ext cx="0" cy="11189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9298007-CE7A-42D5-AB79-E0DCA195C6D0}"/>
              </a:ext>
            </a:extLst>
          </p:cNvPr>
          <p:cNvCxnSpPr/>
          <p:nvPr/>
        </p:nvCxnSpPr>
        <p:spPr>
          <a:xfrm>
            <a:off x="4054642" y="4018547"/>
            <a:ext cx="0" cy="11189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0ED1C3B-F036-4D4F-A166-F3EBF1D11472}"/>
              </a:ext>
            </a:extLst>
          </p:cNvPr>
          <p:cNvSpPr/>
          <p:nvPr/>
        </p:nvSpPr>
        <p:spPr>
          <a:xfrm>
            <a:off x="7094621" y="5329989"/>
            <a:ext cx="3749052" cy="51735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Table 10,11,12,13,14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C1AFB96-907C-4CD1-AF27-F465CE226B5B}"/>
              </a:ext>
            </a:extLst>
          </p:cNvPr>
          <p:cNvCxnSpPr/>
          <p:nvPr/>
        </p:nvCxnSpPr>
        <p:spPr>
          <a:xfrm>
            <a:off x="7607970" y="4018547"/>
            <a:ext cx="0" cy="8903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860524D3-BCBA-45C6-B47D-1DF05CCC3852}"/>
              </a:ext>
            </a:extLst>
          </p:cNvPr>
          <p:cNvCxnSpPr/>
          <p:nvPr/>
        </p:nvCxnSpPr>
        <p:spPr>
          <a:xfrm>
            <a:off x="10479505" y="4018547"/>
            <a:ext cx="0" cy="8903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95668E73-B0AA-48B6-88E7-30BB92597BA8}"/>
              </a:ext>
            </a:extLst>
          </p:cNvPr>
          <p:cNvCxnSpPr/>
          <p:nvPr/>
        </p:nvCxnSpPr>
        <p:spPr>
          <a:xfrm flipH="1">
            <a:off x="4884821" y="5588668"/>
            <a:ext cx="196114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E02278-CA9F-4297-BFB2-668232F5970E}"/>
              </a:ext>
            </a:extLst>
          </p:cNvPr>
          <p:cNvCxnSpPr/>
          <p:nvPr/>
        </p:nvCxnSpPr>
        <p:spPr>
          <a:xfrm>
            <a:off x="8326641" y="1431758"/>
            <a:ext cx="32116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36F31E8A-A88C-41DF-BC3F-A2E8906BB68D}"/>
              </a:ext>
            </a:extLst>
          </p:cNvPr>
          <p:cNvSpPr/>
          <p:nvPr/>
        </p:nvSpPr>
        <p:spPr>
          <a:xfrm>
            <a:off x="10962017" y="4743450"/>
            <a:ext cx="1069554" cy="1561099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Omissions/Corrections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EC05A8AC-3CFE-443A-BD86-7084B3CE2925}"/>
              </a:ext>
            </a:extLst>
          </p:cNvPr>
          <p:cNvCxnSpPr/>
          <p:nvPr/>
        </p:nvCxnSpPr>
        <p:spPr>
          <a:xfrm>
            <a:off x="11538284" y="1431758"/>
            <a:ext cx="0" cy="31883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65D5C64-5E27-4FE4-97C5-476334AC204D}"/>
              </a:ext>
            </a:extLst>
          </p:cNvPr>
          <p:cNvCxnSpPr/>
          <p:nvPr/>
        </p:nvCxnSpPr>
        <p:spPr>
          <a:xfrm flipH="1">
            <a:off x="2791326" y="6304549"/>
            <a:ext cx="82656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0CD60E7-08B9-4407-AA03-6970091939CC}"/>
              </a:ext>
            </a:extLst>
          </p:cNvPr>
          <p:cNvCxnSpPr/>
          <p:nvPr/>
        </p:nvCxnSpPr>
        <p:spPr>
          <a:xfrm flipV="1">
            <a:off x="2791326" y="6027821"/>
            <a:ext cx="0" cy="2767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86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0E5D5D0-6A9A-418B-A790-C25F2968E8BE}"/>
              </a:ext>
            </a:extLst>
          </p:cNvPr>
          <p:cNvSpPr/>
          <p:nvPr/>
        </p:nvSpPr>
        <p:spPr>
          <a:xfrm>
            <a:off x="2432738" y="1572120"/>
            <a:ext cx="806116" cy="4812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6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DDA7AA6-43D6-4AF6-81F7-D221C4D645F0}"/>
              </a:ext>
            </a:extLst>
          </p:cNvPr>
          <p:cNvSpPr/>
          <p:nvPr/>
        </p:nvSpPr>
        <p:spPr>
          <a:xfrm>
            <a:off x="5775361" y="1608219"/>
            <a:ext cx="806116" cy="481263"/>
          </a:xfrm>
          <a:prstGeom prst="roundRect">
            <a:avLst/>
          </a:prstGeom>
          <a:solidFill>
            <a:srgbClr val="FF0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9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583FBC6-8C91-44C4-87E9-A279C0A3B21E}"/>
              </a:ext>
            </a:extLst>
          </p:cNvPr>
          <p:cNvSpPr/>
          <p:nvPr/>
        </p:nvSpPr>
        <p:spPr>
          <a:xfrm>
            <a:off x="203339" y="1572122"/>
            <a:ext cx="806116" cy="4812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4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088748D-A63D-46E4-833F-554381107881}"/>
              </a:ext>
            </a:extLst>
          </p:cNvPr>
          <p:cNvSpPr/>
          <p:nvPr/>
        </p:nvSpPr>
        <p:spPr>
          <a:xfrm>
            <a:off x="7172558" y="1632278"/>
            <a:ext cx="806116" cy="4812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10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0DC39E1-4744-42B8-A8D9-CDC715B6A5F1}"/>
              </a:ext>
            </a:extLst>
          </p:cNvPr>
          <p:cNvSpPr/>
          <p:nvPr/>
        </p:nvSpPr>
        <p:spPr>
          <a:xfrm>
            <a:off x="3277633" y="1588167"/>
            <a:ext cx="806116" cy="4812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7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A6623CE-F555-4E21-BDCC-3ABD635881B9}"/>
              </a:ext>
            </a:extLst>
          </p:cNvPr>
          <p:cNvSpPr/>
          <p:nvPr/>
        </p:nvSpPr>
        <p:spPr>
          <a:xfrm>
            <a:off x="1068534" y="1572120"/>
            <a:ext cx="806116" cy="4812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5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4360241-DEA6-4F38-BFEA-AAE70DD595CA}"/>
              </a:ext>
            </a:extLst>
          </p:cNvPr>
          <p:cNvSpPr/>
          <p:nvPr/>
        </p:nvSpPr>
        <p:spPr>
          <a:xfrm>
            <a:off x="11079588" y="1640293"/>
            <a:ext cx="806116" cy="481263"/>
          </a:xfrm>
          <a:prstGeom prst="roundRect">
            <a:avLst/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14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BD297BA-004D-4FDA-9755-BE38C58E7AC2}"/>
              </a:ext>
            </a:extLst>
          </p:cNvPr>
          <p:cNvSpPr/>
          <p:nvPr/>
        </p:nvSpPr>
        <p:spPr>
          <a:xfrm>
            <a:off x="9956506" y="1620246"/>
            <a:ext cx="806116" cy="4812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13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D1A9800-3300-4CAC-B330-2AD96027563B}"/>
              </a:ext>
            </a:extLst>
          </p:cNvPr>
          <p:cNvSpPr/>
          <p:nvPr/>
        </p:nvSpPr>
        <p:spPr>
          <a:xfrm>
            <a:off x="9117984" y="1620246"/>
            <a:ext cx="806116" cy="4812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12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BA1A3CD-6145-4178-B86E-49095F79BE72}"/>
              </a:ext>
            </a:extLst>
          </p:cNvPr>
          <p:cNvSpPr/>
          <p:nvPr/>
        </p:nvSpPr>
        <p:spPr>
          <a:xfrm>
            <a:off x="8011080" y="1640294"/>
            <a:ext cx="806116" cy="4812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11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AC4F3E1-7E5A-4F09-A8B9-D7FE996FD4D6}"/>
              </a:ext>
            </a:extLst>
          </p:cNvPr>
          <p:cNvSpPr/>
          <p:nvPr/>
        </p:nvSpPr>
        <p:spPr>
          <a:xfrm>
            <a:off x="4533781" y="1608219"/>
            <a:ext cx="806116" cy="481263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8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1397693-A66A-4AAE-97C3-03088A332AB1}"/>
              </a:ext>
            </a:extLst>
          </p:cNvPr>
          <p:cNvSpPr/>
          <p:nvPr/>
        </p:nvSpPr>
        <p:spPr>
          <a:xfrm>
            <a:off x="238462" y="372978"/>
            <a:ext cx="1708484" cy="4812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22-23 : GSTR 3B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447DFAA-1FD4-4D64-8E89-32217B21CF89}"/>
              </a:ext>
            </a:extLst>
          </p:cNvPr>
          <p:cNvSpPr/>
          <p:nvPr/>
        </p:nvSpPr>
        <p:spPr>
          <a:xfrm>
            <a:off x="2432738" y="372977"/>
            <a:ext cx="1708484" cy="4812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22-23 : GSTR1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DC37C40-0C75-48A7-95C9-6461E151A73E}"/>
              </a:ext>
            </a:extLst>
          </p:cNvPr>
          <p:cNvSpPr/>
          <p:nvPr/>
        </p:nvSpPr>
        <p:spPr>
          <a:xfrm>
            <a:off x="10225346" y="360943"/>
            <a:ext cx="1708484" cy="4812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23-24 : GSTR1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A7131ED-8A5D-4ED5-A310-E78554CE39C1}"/>
              </a:ext>
            </a:extLst>
          </p:cNvPr>
          <p:cNvSpPr/>
          <p:nvPr/>
        </p:nvSpPr>
        <p:spPr>
          <a:xfrm>
            <a:off x="8215616" y="372977"/>
            <a:ext cx="1708484" cy="4812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dirty="0"/>
              <a:t>23-24: GSTR 3B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FF2193F-55E0-450C-AFC9-138A2CA94C38}"/>
              </a:ext>
            </a:extLst>
          </p:cNvPr>
          <p:cNvCxnSpPr/>
          <p:nvPr/>
        </p:nvCxnSpPr>
        <p:spPr>
          <a:xfrm flipH="1">
            <a:off x="606397" y="854240"/>
            <a:ext cx="1727729" cy="589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A00C5CC-F40B-463B-8B4E-5EDC2F7EA643}"/>
              </a:ext>
            </a:extLst>
          </p:cNvPr>
          <p:cNvCxnSpPr/>
          <p:nvPr/>
        </p:nvCxnSpPr>
        <p:spPr>
          <a:xfrm flipH="1">
            <a:off x="1874650" y="854240"/>
            <a:ext cx="459476" cy="589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50FABB7-EE51-40AD-AB3C-CDEE2F002933}"/>
              </a:ext>
            </a:extLst>
          </p:cNvPr>
          <p:cNvCxnSpPr/>
          <p:nvPr/>
        </p:nvCxnSpPr>
        <p:spPr>
          <a:xfrm>
            <a:off x="1648326" y="962526"/>
            <a:ext cx="1187470" cy="481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4E15DEB-8966-490A-9E1A-0E2CAE3B79EF}"/>
              </a:ext>
            </a:extLst>
          </p:cNvPr>
          <p:cNvCxnSpPr>
            <a:cxnSpLocks/>
          </p:cNvCxnSpPr>
          <p:nvPr/>
        </p:nvCxnSpPr>
        <p:spPr>
          <a:xfrm>
            <a:off x="1952164" y="822154"/>
            <a:ext cx="4303769" cy="7539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CBD07DFD-0933-41FB-A9D4-B99B9923413B}"/>
              </a:ext>
            </a:extLst>
          </p:cNvPr>
          <p:cNvSpPr/>
          <p:nvPr/>
        </p:nvSpPr>
        <p:spPr>
          <a:xfrm>
            <a:off x="4083748" y="3092116"/>
            <a:ext cx="1691613" cy="753979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Correction in Tax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F8C1E03-0FC5-47C4-AB1A-F217922519EF}"/>
              </a:ext>
            </a:extLst>
          </p:cNvPr>
          <p:cNvCxnSpPr/>
          <p:nvPr/>
        </p:nvCxnSpPr>
        <p:spPr>
          <a:xfrm>
            <a:off x="606397" y="2225842"/>
            <a:ext cx="3303866" cy="1082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09C0A97-2E01-46F8-B1D3-F9BAA7244291}"/>
              </a:ext>
            </a:extLst>
          </p:cNvPr>
          <p:cNvCxnSpPr/>
          <p:nvPr/>
        </p:nvCxnSpPr>
        <p:spPr>
          <a:xfrm>
            <a:off x="3765884" y="2225842"/>
            <a:ext cx="767897" cy="7098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8410D32-84B4-4A83-B39A-16CED9BC72DF}"/>
              </a:ext>
            </a:extLst>
          </p:cNvPr>
          <p:cNvCxnSpPr/>
          <p:nvPr/>
        </p:nvCxnSpPr>
        <p:spPr>
          <a:xfrm flipV="1">
            <a:off x="5486400" y="2225842"/>
            <a:ext cx="609600" cy="866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B20B6C18-0A34-47CB-8740-E346D41CB94F}"/>
              </a:ext>
            </a:extLst>
          </p:cNvPr>
          <p:cNvSpPr/>
          <p:nvPr/>
        </p:nvSpPr>
        <p:spPr>
          <a:xfrm>
            <a:off x="5504650" y="3637547"/>
            <a:ext cx="1347537" cy="1106906"/>
          </a:xfrm>
          <a:prstGeom prst="triangl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DRC 03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C6581699-AC1D-4E6A-8950-FA11EA52411E}"/>
              </a:ext>
            </a:extLst>
          </p:cNvPr>
          <p:cNvCxnSpPr/>
          <p:nvPr/>
        </p:nvCxnSpPr>
        <p:spPr>
          <a:xfrm>
            <a:off x="6193725" y="2157663"/>
            <a:ext cx="0" cy="1311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F081875-D9A5-4962-81F2-CD984E273488}"/>
              </a:ext>
            </a:extLst>
          </p:cNvPr>
          <p:cNvCxnSpPr/>
          <p:nvPr/>
        </p:nvCxnSpPr>
        <p:spPr>
          <a:xfrm flipH="1">
            <a:off x="7736305" y="854240"/>
            <a:ext cx="2489041" cy="685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5A8DC5CA-DC7F-4E5C-8923-75ACCCFDB628}"/>
              </a:ext>
            </a:extLst>
          </p:cNvPr>
          <p:cNvCxnSpPr/>
          <p:nvPr/>
        </p:nvCxnSpPr>
        <p:spPr>
          <a:xfrm flipH="1">
            <a:off x="8817196" y="962526"/>
            <a:ext cx="1542368" cy="5775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FD6E470-D2D7-4128-92F4-9031CAFFD47B}"/>
              </a:ext>
            </a:extLst>
          </p:cNvPr>
          <p:cNvCxnSpPr/>
          <p:nvPr/>
        </p:nvCxnSpPr>
        <p:spPr>
          <a:xfrm>
            <a:off x="9117984" y="962526"/>
            <a:ext cx="403058" cy="481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BCD4D7A-EDB9-4428-8381-FE5D06C3DFC8}"/>
              </a:ext>
            </a:extLst>
          </p:cNvPr>
          <p:cNvCxnSpPr/>
          <p:nvPr/>
        </p:nvCxnSpPr>
        <p:spPr>
          <a:xfrm>
            <a:off x="9521042" y="962526"/>
            <a:ext cx="838522" cy="4812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D58ADB8F-4A22-49CD-83E8-0FF623485CD9}"/>
              </a:ext>
            </a:extLst>
          </p:cNvPr>
          <p:cNvCxnSpPr/>
          <p:nvPr/>
        </p:nvCxnSpPr>
        <p:spPr>
          <a:xfrm>
            <a:off x="7603958" y="2225842"/>
            <a:ext cx="733926" cy="1082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1A2E3DC1-66F8-4DCF-9BA2-F5B63573D020}"/>
              </a:ext>
            </a:extLst>
          </p:cNvPr>
          <p:cNvCxnSpPr/>
          <p:nvPr/>
        </p:nvCxnSpPr>
        <p:spPr>
          <a:xfrm>
            <a:off x="8337884" y="2310063"/>
            <a:ext cx="0" cy="8783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5C4DB04-3129-48B5-8D57-3EAED2D9903E}"/>
              </a:ext>
            </a:extLst>
          </p:cNvPr>
          <p:cNvCxnSpPr/>
          <p:nvPr/>
        </p:nvCxnSpPr>
        <p:spPr>
          <a:xfrm flipV="1">
            <a:off x="8458200" y="2225842"/>
            <a:ext cx="2767263" cy="962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048868CC-B509-4A29-B9D3-6147B8667C8F}"/>
              </a:ext>
            </a:extLst>
          </p:cNvPr>
          <p:cNvSpPr/>
          <p:nvPr/>
        </p:nvSpPr>
        <p:spPr>
          <a:xfrm>
            <a:off x="866274" y="5558589"/>
            <a:ext cx="3043989" cy="513346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22-23 BOOKS : Turnover / tax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3690AFFD-4E3A-4C68-B8F6-F176BC1EFDD4}"/>
              </a:ext>
            </a:extLst>
          </p:cNvPr>
          <p:cNvSpPr/>
          <p:nvPr/>
        </p:nvSpPr>
        <p:spPr>
          <a:xfrm>
            <a:off x="8781101" y="5558589"/>
            <a:ext cx="3043989" cy="513346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22-23 BOOKS : ITC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8B16462-D287-470C-A327-CCC0F4529774}"/>
              </a:ext>
            </a:extLst>
          </p:cNvPr>
          <p:cNvCxnSpPr>
            <a:cxnSpLocks/>
          </p:cNvCxnSpPr>
          <p:nvPr/>
        </p:nvCxnSpPr>
        <p:spPr>
          <a:xfrm>
            <a:off x="1470261" y="2225842"/>
            <a:ext cx="0" cy="30600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7B807F78-F469-4EF2-A19A-E008D2E9EF4D}"/>
              </a:ext>
            </a:extLst>
          </p:cNvPr>
          <p:cNvCxnSpPr>
            <a:cxnSpLocks/>
          </p:cNvCxnSpPr>
          <p:nvPr/>
        </p:nvCxnSpPr>
        <p:spPr>
          <a:xfrm>
            <a:off x="866274" y="2101509"/>
            <a:ext cx="0" cy="31843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EF57C2C-132C-4DAC-A375-D01E39A58637}"/>
              </a:ext>
            </a:extLst>
          </p:cNvPr>
          <p:cNvCxnSpPr>
            <a:cxnSpLocks/>
          </p:cNvCxnSpPr>
          <p:nvPr/>
        </p:nvCxnSpPr>
        <p:spPr>
          <a:xfrm>
            <a:off x="8215616" y="3429000"/>
            <a:ext cx="0" cy="23862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80B44674-8AFB-497A-A6DE-A3FFE8610DA0}"/>
              </a:ext>
            </a:extLst>
          </p:cNvPr>
          <p:cNvCxnSpPr/>
          <p:nvPr/>
        </p:nvCxnSpPr>
        <p:spPr>
          <a:xfrm flipH="1">
            <a:off x="4083748" y="5815262"/>
            <a:ext cx="41318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ECE1FCAB-D25E-4659-A75E-746CD2AB4AA9}"/>
              </a:ext>
            </a:extLst>
          </p:cNvPr>
          <p:cNvCxnSpPr/>
          <p:nvPr/>
        </p:nvCxnSpPr>
        <p:spPr>
          <a:xfrm>
            <a:off x="9521042" y="2225842"/>
            <a:ext cx="0" cy="30600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3AE5784C-DBBD-4AAE-B5CF-A8A06A677D33}"/>
              </a:ext>
            </a:extLst>
          </p:cNvPr>
          <p:cNvCxnSpPr>
            <a:cxnSpLocks/>
          </p:cNvCxnSpPr>
          <p:nvPr/>
        </p:nvCxnSpPr>
        <p:spPr>
          <a:xfrm flipH="1">
            <a:off x="10303095" y="2310063"/>
            <a:ext cx="56470" cy="29758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959EC1F-ABF6-485A-B790-17C342E1F4D6}"/>
              </a:ext>
            </a:extLst>
          </p:cNvPr>
          <p:cNvCxnSpPr/>
          <p:nvPr/>
        </p:nvCxnSpPr>
        <p:spPr>
          <a:xfrm>
            <a:off x="2835796" y="2225842"/>
            <a:ext cx="0" cy="27792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F3571877-9DA8-4010-A2FF-694EEC495590}"/>
              </a:ext>
            </a:extLst>
          </p:cNvPr>
          <p:cNvCxnSpPr/>
          <p:nvPr/>
        </p:nvCxnSpPr>
        <p:spPr>
          <a:xfrm flipH="1">
            <a:off x="2835796" y="2225842"/>
            <a:ext cx="844895" cy="27792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C91326B-889F-4EB0-BA6C-A4FC6D413F7C}"/>
              </a:ext>
            </a:extLst>
          </p:cNvPr>
          <p:cNvCxnSpPr/>
          <p:nvPr/>
        </p:nvCxnSpPr>
        <p:spPr>
          <a:xfrm>
            <a:off x="2835796" y="5005137"/>
            <a:ext cx="5730688" cy="553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6DA3F51D-E3A7-41F0-A816-00E0ABEBCB81}"/>
              </a:ext>
            </a:extLst>
          </p:cNvPr>
          <p:cNvSpPr/>
          <p:nvPr/>
        </p:nvSpPr>
        <p:spPr>
          <a:xfrm>
            <a:off x="5701140" y="493295"/>
            <a:ext cx="974558" cy="481263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2A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DDAE7B8D-C2D2-499C-AD4A-005B7C0CC8D9}"/>
              </a:ext>
            </a:extLst>
          </p:cNvPr>
          <p:cNvCxnSpPr/>
          <p:nvPr/>
        </p:nvCxnSpPr>
        <p:spPr>
          <a:xfrm flipH="1">
            <a:off x="5339897" y="1094874"/>
            <a:ext cx="435464" cy="445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42B6FB8-002A-441D-B912-3492F424E9E9}"/>
              </a:ext>
            </a:extLst>
          </p:cNvPr>
          <p:cNvCxnSpPr/>
          <p:nvPr/>
        </p:nvCxnSpPr>
        <p:spPr>
          <a:xfrm>
            <a:off x="3031958" y="2225842"/>
            <a:ext cx="1897596" cy="4812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4423303-DB9E-4C70-AEF8-CAB0B11342CA}"/>
              </a:ext>
            </a:extLst>
          </p:cNvPr>
          <p:cNvCxnSpPr/>
          <p:nvPr/>
        </p:nvCxnSpPr>
        <p:spPr>
          <a:xfrm flipV="1">
            <a:off x="4929554" y="2157663"/>
            <a:ext cx="123709" cy="5494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0EC31DE-3B9F-4D73-94A4-282EDAE366F6}"/>
              </a:ext>
            </a:extLst>
          </p:cNvPr>
          <p:cNvCxnSpPr/>
          <p:nvPr/>
        </p:nvCxnSpPr>
        <p:spPr>
          <a:xfrm>
            <a:off x="397042" y="854240"/>
            <a:ext cx="0" cy="5895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107621A-FE0F-444B-A7F0-E0694CE4C215}"/>
              </a:ext>
            </a:extLst>
          </p:cNvPr>
          <p:cNvCxnSpPr>
            <a:cxnSpLocks/>
          </p:cNvCxnSpPr>
          <p:nvPr/>
        </p:nvCxnSpPr>
        <p:spPr>
          <a:xfrm flipH="1">
            <a:off x="8662737" y="2225842"/>
            <a:ext cx="1562610" cy="18769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83B603D-D95B-413D-8A78-91768B1ADCAC}"/>
              </a:ext>
            </a:extLst>
          </p:cNvPr>
          <p:cNvCxnSpPr/>
          <p:nvPr/>
        </p:nvCxnSpPr>
        <p:spPr>
          <a:xfrm flipH="1" flipV="1">
            <a:off x="5339897" y="2225842"/>
            <a:ext cx="3322840" cy="18769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91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A0FC2E2-FA07-0122-645E-6A54D155C5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124" y="136635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84B7EAE-332F-E1C7-45B6-8F4BBDDEA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9922844">
            <a:off x="3719661" y="1257431"/>
            <a:ext cx="1260582" cy="5219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0C2A858-306B-BCF9-00F8-6A58D6F58C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9837217">
            <a:off x="9463928" y="1622448"/>
            <a:ext cx="2041729" cy="3412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2391130-9131-3097-6CD2-5BF906FDF7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000456">
            <a:off x="9931715" y="703924"/>
            <a:ext cx="1530733" cy="3432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5685B33-F9E1-144C-1ED4-D12D2D189E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2076" y="87427"/>
            <a:ext cx="1432422" cy="52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86052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C0DF108-2620-DE94-2778-09395EB706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9186" y="157655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0753EB3-E27F-B24B-4EFF-4C070FDAFE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4444" y="1300297"/>
            <a:ext cx="1021556" cy="76011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7131605-F8FA-A954-4BA2-F3F09B749E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4072" y="441622"/>
            <a:ext cx="1163485" cy="4307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9712E7-EA91-2188-CA41-72215AA055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3783" y="1300297"/>
            <a:ext cx="1136621" cy="7601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D34451-AA65-B81A-EA91-C56B8782F0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95973" y="372443"/>
            <a:ext cx="1530229" cy="9998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1521B4-72E4-175F-3A13-B2AF4BDD85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73584" y="4582674"/>
            <a:ext cx="1669010" cy="43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65881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5C934B8-EFB1-80F8-1017-F7EEC69301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A7867FB-F9F3-FFA3-B5C7-711412041F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3338" y="805704"/>
            <a:ext cx="1566041" cy="4328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AF9917-4BFD-AE58-1A63-1DE2CD280E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153438">
            <a:off x="3596613" y="954820"/>
            <a:ext cx="1746746" cy="6715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1DEC3B-BD55-546A-3C1C-369334EF5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9679549">
            <a:off x="8573536" y="701052"/>
            <a:ext cx="1801867" cy="64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287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56675" y="616618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mendments in GSTR 1 &amp; GSTR 3B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of October, 2023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For the FY 2022-23)</a:t>
            </a:r>
            <a:endParaRPr lang="en-US" sz="24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46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762E2F-07BF-A9CA-4C70-1C24D05F3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822D765-1F82-CC89-0E1D-A129271263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3630" y="595497"/>
            <a:ext cx="1877731" cy="4328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02553D-A492-3624-5751-EC079423DE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6307" y="360781"/>
            <a:ext cx="1877731" cy="13351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E4356C3-266A-6306-1EA0-665098C23F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71479" y="275429"/>
            <a:ext cx="1877731" cy="15058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70956F7-2A71-61C1-BD5C-493612271C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3686" y="4736573"/>
            <a:ext cx="2064935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67424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779489" y="1483360"/>
            <a:ext cx="10418163" cy="4677597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endParaRPr lang="en-US" sz="4400" b="1" i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endParaRPr lang="en-US" sz="4400" b="1" i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  <a:p>
            <a:pPr>
              <a:lnSpc>
                <a:spcPct val="100000"/>
              </a:lnSpc>
            </a:pPr>
            <a:r>
              <a:rPr lang="en-US" sz="3200" b="1" i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Relaxation in Annual Return Filing </a:t>
            </a:r>
            <a:r>
              <a:rPr lang="en-US" sz="3200" b="1" i="1" dirty="0">
                <a:solidFill>
                  <a:srgbClr val="FF0000"/>
                </a:solidFill>
                <a:latin typeface="+mn-lt"/>
              </a:rPr>
              <a:t>FY 2022-23</a:t>
            </a:r>
          </a:p>
        </p:txBody>
      </p:sp>
    </p:spTree>
    <p:extLst>
      <p:ext uri="{BB962C8B-B14F-4D97-AF65-F5344CB8AC3E}">
        <p14:creationId xmlns:p14="http://schemas.microsoft.com/office/powerpoint/2010/main" val="2111490205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Relaxation in Annual Return Filing FY 2022-23</a:t>
            </a:r>
            <a:endParaRPr lang="en-IN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ED1ABB-0D5E-4361-B9E1-18EC56CFD58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11185" y="1973828"/>
          <a:ext cx="11228388" cy="3651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0705">
                  <a:extLst>
                    <a:ext uri="{9D8B030D-6E8A-4147-A177-3AD203B41FA5}">
                      <a16:colId xmlns:a16="http://schemas.microsoft.com/office/drawing/2014/main" val="2423197481"/>
                    </a:ext>
                  </a:extLst>
                </a:gridCol>
                <a:gridCol w="2761785">
                  <a:extLst>
                    <a:ext uri="{9D8B030D-6E8A-4147-A177-3AD203B41FA5}">
                      <a16:colId xmlns:a16="http://schemas.microsoft.com/office/drawing/2014/main" val="1074444025"/>
                    </a:ext>
                  </a:extLst>
                </a:gridCol>
                <a:gridCol w="5295898">
                  <a:extLst>
                    <a:ext uri="{9D8B030D-6E8A-4147-A177-3AD203B41FA5}">
                      <a16:colId xmlns:a16="http://schemas.microsoft.com/office/drawing/2014/main" val="2721495072"/>
                    </a:ext>
                  </a:extLst>
                </a:gridCol>
              </a:tblGrid>
              <a:tr h="577669">
                <a:tc>
                  <a:txBody>
                    <a:bodyPr/>
                    <a:lstStyle/>
                    <a:p>
                      <a:r>
                        <a:rPr lang="en-IN" sz="2800" dirty="0">
                          <a:solidFill>
                            <a:schemeClr val="tx1"/>
                          </a:solidFill>
                        </a:rPr>
                        <a:t>Entry No in GSTR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icul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la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704377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D      to      5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2000" dirty="0"/>
                        <a:t>Exempt, NIL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Option to fill the total in Exemp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610017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H      to      5K</a:t>
                      </a:r>
                    </a:p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N, DN, Amendments + -</a:t>
                      </a:r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 to fill 5A to 5F, Net off CN,DN,+,-.</a:t>
                      </a:r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0756674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B      to      6E </a:t>
                      </a:r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put, Input Services, CG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G shall be separate, Option to fill balance in Inputs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474323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A      to      7H </a:t>
                      </a:r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Various Reversals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eparately or all amount in 7H.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3788092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r>
                        <a:rPr lang="en-GB" dirty="0"/>
                        <a:t>12       to        13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TC Availment, Reversal of Prev. Yea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ption not to fill this Tables.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8632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881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Relaxation in Annual Return Filing</a:t>
            </a:r>
            <a:endParaRPr lang="en-IN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ED1ABB-0D5E-4361-B9E1-18EC56CFD58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11186" y="1973828"/>
          <a:ext cx="10830846" cy="38361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8446">
                  <a:extLst>
                    <a:ext uri="{9D8B030D-6E8A-4147-A177-3AD203B41FA5}">
                      <a16:colId xmlns:a16="http://schemas.microsoft.com/office/drawing/2014/main" val="2423197481"/>
                    </a:ext>
                  </a:extLst>
                </a:gridCol>
                <a:gridCol w="4162118">
                  <a:extLst>
                    <a:ext uri="{9D8B030D-6E8A-4147-A177-3AD203B41FA5}">
                      <a16:colId xmlns:a16="http://schemas.microsoft.com/office/drawing/2014/main" val="1074444025"/>
                    </a:ext>
                  </a:extLst>
                </a:gridCol>
                <a:gridCol w="3610282">
                  <a:extLst>
                    <a:ext uri="{9D8B030D-6E8A-4147-A177-3AD203B41FA5}">
                      <a16:colId xmlns:a16="http://schemas.microsoft.com/office/drawing/2014/main" val="2721495072"/>
                    </a:ext>
                  </a:extLst>
                </a:gridCol>
              </a:tblGrid>
              <a:tr h="577669">
                <a:tc>
                  <a:txBody>
                    <a:bodyPr/>
                    <a:lstStyle/>
                    <a:p>
                      <a:r>
                        <a:rPr lang="en-IN" sz="2800" dirty="0">
                          <a:solidFill>
                            <a:schemeClr val="tx1"/>
                          </a:solidFill>
                        </a:rPr>
                        <a:t>Entry No in GSTR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icul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la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704377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A      to       15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ils of Ref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610017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E      to       15G</a:t>
                      </a:r>
                    </a:p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ails of Dem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0756674"/>
                  </a:ext>
                </a:extLst>
              </a:tr>
              <a:tr h="6704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pply Received from composition Tax Pay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474323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emed Supply u/s 143 – Job Wor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3788092"/>
                  </a:ext>
                </a:extLst>
              </a:tr>
              <a:tr h="5776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oods sent on Approval basis but not returne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8632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73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Relaxation in Annual Return Filing</a:t>
            </a:r>
            <a:endParaRPr lang="en-IN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3FED1ABB-0D5E-4361-B9E1-18EC56CFD5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8917307"/>
              </p:ext>
            </p:extLst>
          </p:nvPr>
        </p:nvGraphicFramePr>
        <p:xfrm>
          <a:off x="611186" y="1973828"/>
          <a:ext cx="10830846" cy="4386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8446">
                  <a:extLst>
                    <a:ext uri="{9D8B030D-6E8A-4147-A177-3AD203B41FA5}">
                      <a16:colId xmlns:a16="http://schemas.microsoft.com/office/drawing/2014/main" val="2423197481"/>
                    </a:ext>
                  </a:extLst>
                </a:gridCol>
                <a:gridCol w="4286699">
                  <a:extLst>
                    <a:ext uri="{9D8B030D-6E8A-4147-A177-3AD203B41FA5}">
                      <a16:colId xmlns:a16="http://schemas.microsoft.com/office/drawing/2014/main" val="1074444025"/>
                    </a:ext>
                  </a:extLst>
                </a:gridCol>
                <a:gridCol w="3485701">
                  <a:extLst>
                    <a:ext uri="{9D8B030D-6E8A-4147-A177-3AD203B41FA5}">
                      <a16:colId xmlns:a16="http://schemas.microsoft.com/office/drawing/2014/main" val="2721495072"/>
                    </a:ext>
                  </a:extLst>
                </a:gridCol>
              </a:tblGrid>
              <a:tr h="481167">
                <a:tc>
                  <a:txBody>
                    <a:bodyPr/>
                    <a:lstStyle/>
                    <a:p>
                      <a:r>
                        <a:rPr lang="en-IN" sz="2800" dirty="0">
                          <a:solidFill>
                            <a:schemeClr val="tx1"/>
                          </a:solidFill>
                        </a:rPr>
                        <a:t>Entry No in GSTR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icul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la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704377"/>
                  </a:ext>
                </a:extLst>
              </a:tr>
              <a:tr h="17831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SN Details of Outward Suppl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Y TO </a:t>
                      </a:r>
                      <a:r>
                        <a:rPr lang="en-GB" sz="20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to</a:t>
                      </a:r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5Cr……4 digit (B2B- Mandatory, B2C –Optional.)</a:t>
                      </a:r>
                    </a:p>
                    <a:p>
                      <a:pPr marL="0" algn="l" defTabSz="914400" rtl="0" eaLnBrk="1" latinLnBrk="0" hangingPunct="1"/>
                      <a:endParaRPr lang="en-GB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GB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Y TO Above 5 Cr…..6 Digits (Mandatory for both B2B and B2C.)</a:t>
                      </a:r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9610017"/>
                  </a:ext>
                </a:extLst>
              </a:tr>
              <a:tr h="65099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SN Details of Inward Supplies</a:t>
                      </a:r>
                    </a:p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IN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0756674"/>
                  </a:ext>
                </a:extLst>
              </a:tr>
              <a:tr h="4547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474323"/>
                  </a:ext>
                </a:extLst>
              </a:tr>
              <a:tr h="39183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3788092"/>
                  </a:ext>
                </a:extLst>
              </a:tr>
              <a:tr h="39183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IN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8632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782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56675" y="616618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acilities in GST Portal</a:t>
            </a: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708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facilities in GST Portal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/>
          <a:lstStyle/>
          <a:p>
            <a:r>
              <a:rPr lang="en-IN" sz="2400" i="1" dirty="0">
                <a:solidFill>
                  <a:schemeClr val="tx1"/>
                </a:solidFill>
              </a:rPr>
              <a:t>Download……… GSTR 3B Summary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Download……… GSTR 1 Summary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Download……… GSTR 9 System Computed Summary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Verify……… Total Credit &amp; Liability Statement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Verify……… Liability (Other than Export &amp; RCM)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Verify……… Liability …. Due to RCM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Verify……… Liability ….. Due to Exports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Verify……… ITC Credit claim and Due.</a:t>
            </a:r>
            <a:endParaRPr lang="en-IN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35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facilities in GST Portal</a:t>
            </a:r>
            <a:endParaRPr lang="en-IN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02BF888-9573-4374-988B-DA3994AA24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707571" y="1611313"/>
            <a:ext cx="10602686" cy="436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28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facilities in GST Portal</a:t>
            </a:r>
            <a:endParaRPr lang="en-IN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3A89A2A-A48D-4EC5-B4F8-410A6DB569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794657" y="1752600"/>
            <a:ext cx="10748583" cy="422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44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facilities in GST Portal</a:t>
            </a:r>
            <a:endParaRPr lang="en-IN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84443EF-74D7-4B33-807F-DA0AEC6507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611187" y="1431392"/>
            <a:ext cx="10932053" cy="505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48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2400" b="1" dirty="0">
                <a:solidFill>
                  <a:srgbClr val="00B050"/>
                </a:solidFill>
              </a:rPr>
              <a:t>Time limit - </a:t>
            </a:r>
            <a:r>
              <a:rPr lang="en-GB" sz="2400" b="1" dirty="0">
                <a:solidFill>
                  <a:srgbClr val="00B050"/>
                </a:solidFill>
              </a:rPr>
              <a:t>30.11.2023 /Annual Return filed Date </a:t>
            </a:r>
            <a:r>
              <a:rPr lang="en-GB" sz="2400" b="1" dirty="0">
                <a:solidFill>
                  <a:srgbClr val="FF0000"/>
                </a:solidFill>
              </a:rPr>
              <a:t>Whichever is earlier.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>
            <a:normAutofit lnSpcReduction="10000"/>
          </a:bodyPr>
          <a:lstStyle/>
          <a:p>
            <a:r>
              <a:rPr lang="en-IN" sz="2400" i="1" dirty="0">
                <a:solidFill>
                  <a:srgbClr val="FF0000"/>
                </a:solidFill>
              </a:rPr>
              <a:t>Section 16 (4) </a:t>
            </a:r>
            <a:r>
              <a:rPr lang="en-IN" sz="2400" i="1" dirty="0">
                <a:solidFill>
                  <a:schemeClr val="tx1"/>
                </a:solidFill>
              </a:rPr>
              <a:t>– Time limit for </a:t>
            </a:r>
            <a:r>
              <a:rPr lang="en-IN" sz="2400" b="1" i="1" dirty="0" err="1">
                <a:solidFill>
                  <a:srgbClr val="7030A0"/>
                </a:solidFill>
              </a:rPr>
              <a:t>Availment</a:t>
            </a:r>
            <a:r>
              <a:rPr lang="en-IN" sz="2400" b="1" i="1" dirty="0">
                <a:solidFill>
                  <a:srgbClr val="7030A0"/>
                </a:solidFill>
              </a:rPr>
              <a:t> of ITC </a:t>
            </a:r>
            <a:r>
              <a:rPr lang="en-IN" sz="2400" i="1" dirty="0">
                <a:solidFill>
                  <a:schemeClr val="tx1"/>
                </a:solidFill>
              </a:rPr>
              <a:t>for FY 22-23.</a:t>
            </a:r>
          </a:p>
          <a:p>
            <a:r>
              <a:rPr lang="en-IN" sz="2400" i="1" dirty="0">
                <a:solidFill>
                  <a:srgbClr val="FF0000"/>
                </a:solidFill>
              </a:rPr>
              <a:t>Section 34 (2) </a:t>
            </a:r>
            <a:r>
              <a:rPr lang="en-IN" sz="2400" i="1" dirty="0">
                <a:solidFill>
                  <a:schemeClr val="tx1"/>
                </a:solidFill>
              </a:rPr>
              <a:t>– Time limit for </a:t>
            </a:r>
            <a:r>
              <a:rPr lang="en-IN" sz="2400" b="1" i="1" dirty="0">
                <a:solidFill>
                  <a:srgbClr val="7030A0"/>
                </a:solidFill>
              </a:rPr>
              <a:t>uploading of Credit Notes </a:t>
            </a:r>
            <a:r>
              <a:rPr lang="en-IN" sz="2400" i="1" dirty="0">
                <a:solidFill>
                  <a:schemeClr val="tx1"/>
                </a:solidFill>
              </a:rPr>
              <a:t>for FY 22-23.</a:t>
            </a:r>
          </a:p>
          <a:p>
            <a:r>
              <a:rPr lang="en-IN" sz="2400" i="1" dirty="0">
                <a:solidFill>
                  <a:srgbClr val="FF0000"/>
                </a:solidFill>
              </a:rPr>
              <a:t>Section 37 (3) – </a:t>
            </a:r>
            <a:r>
              <a:rPr lang="en-IN" sz="2400" i="1" dirty="0">
                <a:solidFill>
                  <a:schemeClr val="tx1"/>
                </a:solidFill>
              </a:rPr>
              <a:t>Time limit for </a:t>
            </a:r>
            <a:r>
              <a:rPr lang="en-IN" sz="2400" b="1" i="1" dirty="0">
                <a:solidFill>
                  <a:srgbClr val="7030A0"/>
                </a:solidFill>
              </a:rPr>
              <a:t>Rectification of errors and omissions </a:t>
            </a:r>
            <a:r>
              <a:rPr lang="en-IN" sz="2400" i="1" dirty="0">
                <a:solidFill>
                  <a:schemeClr val="tx1"/>
                </a:solidFill>
              </a:rPr>
              <a:t>In Invoices for FY 22-23.</a:t>
            </a:r>
          </a:p>
          <a:p>
            <a:r>
              <a:rPr lang="en-IN" sz="2400" i="1" dirty="0">
                <a:solidFill>
                  <a:srgbClr val="FF0000"/>
                </a:solidFill>
              </a:rPr>
              <a:t>Section 39 (9) </a:t>
            </a:r>
            <a:r>
              <a:rPr lang="en-IN" sz="2400" i="1" dirty="0">
                <a:solidFill>
                  <a:schemeClr val="tx1"/>
                </a:solidFill>
              </a:rPr>
              <a:t>– Time limit for </a:t>
            </a:r>
            <a:r>
              <a:rPr lang="en-IN" sz="2400" b="1" i="1" dirty="0">
                <a:solidFill>
                  <a:srgbClr val="7030A0"/>
                </a:solidFill>
              </a:rPr>
              <a:t>Rectification of </a:t>
            </a:r>
            <a:r>
              <a:rPr lang="en-GB" sz="2400" b="1" i="1" dirty="0">
                <a:solidFill>
                  <a:srgbClr val="7030A0"/>
                </a:solidFill>
              </a:rPr>
              <a:t>any omission or incorrect particulars </a:t>
            </a:r>
            <a:r>
              <a:rPr lang="en-GB" sz="2400" i="1" dirty="0">
                <a:solidFill>
                  <a:schemeClr val="tx1"/>
                </a:solidFill>
              </a:rPr>
              <a:t>in GSTR 3B </a:t>
            </a:r>
            <a:r>
              <a:rPr lang="en-IN" sz="2400" i="1" dirty="0">
                <a:solidFill>
                  <a:schemeClr val="tx1"/>
                </a:solidFill>
              </a:rPr>
              <a:t>for FY 22-23.</a:t>
            </a:r>
          </a:p>
          <a:p>
            <a:r>
              <a:rPr lang="en-IN" sz="2400" i="1" dirty="0">
                <a:solidFill>
                  <a:srgbClr val="FF0000"/>
                </a:solidFill>
              </a:rPr>
              <a:t>Section 52 (6) – </a:t>
            </a:r>
            <a:r>
              <a:rPr lang="en-IN" sz="2400" i="1" dirty="0">
                <a:solidFill>
                  <a:schemeClr val="tx1"/>
                </a:solidFill>
              </a:rPr>
              <a:t>Time limit for </a:t>
            </a:r>
            <a:r>
              <a:rPr lang="en-IN" sz="2400" b="1" i="1" dirty="0">
                <a:solidFill>
                  <a:srgbClr val="7030A0"/>
                </a:solidFill>
              </a:rPr>
              <a:t>Rectification of errors and omissions </a:t>
            </a:r>
            <a:r>
              <a:rPr lang="en-IN" sz="2400" i="1" dirty="0">
                <a:solidFill>
                  <a:schemeClr val="tx1"/>
                </a:solidFill>
              </a:rPr>
              <a:t>In TCS returns for FY 22-23.</a:t>
            </a:r>
          </a:p>
          <a:p>
            <a:r>
              <a:rPr lang="en-IN" sz="2400" i="1" dirty="0">
                <a:solidFill>
                  <a:srgbClr val="FF0000"/>
                </a:solidFill>
              </a:rPr>
              <a:t>Rule  37A  </a:t>
            </a:r>
            <a:r>
              <a:rPr lang="en-IN" sz="2400" i="1" dirty="0">
                <a:solidFill>
                  <a:schemeClr val="tx1"/>
                </a:solidFill>
              </a:rPr>
              <a:t>– Time limit for </a:t>
            </a:r>
            <a:r>
              <a:rPr lang="en-IN" sz="2400" b="1" i="1" dirty="0">
                <a:solidFill>
                  <a:srgbClr val="7030A0"/>
                </a:solidFill>
              </a:rPr>
              <a:t>Reversal of ITC, if supplier has not paid taxes </a:t>
            </a:r>
            <a:r>
              <a:rPr lang="en-IN" sz="2400" i="1" dirty="0">
                <a:solidFill>
                  <a:schemeClr val="tx1"/>
                </a:solidFill>
              </a:rPr>
              <a:t>for FY 22-23. ( Supplier filed GSTR 1 but has not filed GSTR 3B till 30.09.2023)</a:t>
            </a:r>
          </a:p>
          <a:p>
            <a:endParaRPr lang="en-IN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59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nnual Returns</a:t>
            </a:r>
          </a:p>
        </p:txBody>
      </p:sp>
    </p:spTree>
    <p:extLst>
      <p:ext uri="{BB962C8B-B14F-4D97-AF65-F5344CB8AC3E}">
        <p14:creationId xmlns:p14="http://schemas.microsoft.com/office/powerpoint/2010/main" val="248479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845016-F10E-4332-A9B7-2CB050D9BB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9743"/>
            <a:ext cx="12192000" cy="655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01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DFA0E49-78EE-44B2-BCC8-9EEDEF311312}"/>
              </a:ext>
            </a:extLst>
          </p:cNvPr>
          <p:cNvSpPr/>
          <p:nvPr/>
        </p:nvSpPr>
        <p:spPr>
          <a:xfrm>
            <a:off x="2144487" y="2767086"/>
            <a:ext cx="85561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How Annual Return is prepared?</a:t>
            </a:r>
          </a:p>
        </p:txBody>
      </p:sp>
    </p:spTree>
    <p:extLst>
      <p:ext uri="{BB962C8B-B14F-4D97-AF65-F5344CB8AC3E}">
        <p14:creationId xmlns:p14="http://schemas.microsoft.com/office/powerpoint/2010/main" val="216159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18C4ED1-E440-4C79-91F7-EE5D7A1145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20872"/>
            <a:ext cx="12192000" cy="541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86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E70605-4834-4EBA-8F03-7C8C7686BD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7544" y="370114"/>
            <a:ext cx="7889630" cy="562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67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5089150-C53A-428B-A12D-F52020100E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08393"/>
            <a:ext cx="12192000" cy="6041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49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B2ADD3E-D5E6-45E5-B1BD-3CC034FCF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5263"/>
            <a:ext cx="12192000" cy="614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14A888A-43C5-444E-B6C4-EFC1524C6F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3677"/>
            <a:ext cx="12192000" cy="653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60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2192611-47FF-40B6-B131-2AEA3A6C50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4820"/>
            <a:ext cx="12192000" cy="5048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7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7272D4-781F-4386-9D6B-2561B4B834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370" y="0"/>
            <a:ext cx="115552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3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000" b="1" dirty="0">
                <a:solidFill>
                  <a:srgbClr val="00B050"/>
                </a:solidFill>
              </a:rPr>
              <a:t>Electronic Credit Reversal and Re-claimed Statement” Balance declaration </a:t>
            </a:r>
            <a:endParaRPr lang="en-IN" sz="2000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>
            <a:normAutofit/>
          </a:bodyPr>
          <a:lstStyle/>
          <a:p>
            <a:r>
              <a:rPr lang="en-GB" sz="2400" i="1" dirty="0">
                <a:solidFill>
                  <a:srgbClr val="FF0000"/>
                </a:solidFill>
              </a:rPr>
              <a:t>“Electronic Credit Reversal and Re-claimed Statement” Balance declaration </a:t>
            </a:r>
            <a:r>
              <a:rPr lang="en-GB" sz="2400" dirty="0">
                <a:solidFill>
                  <a:srgbClr val="FF0000"/>
                </a:solidFill>
              </a:rPr>
              <a:t>: </a:t>
            </a:r>
            <a:r>
              <a:rPr lang="en-GB" sz="2400" i="1" dirty="0">
                <a:solidFill>
                  <a:schemeClr val="tx1"/>
                </a:solidFill>
              </a:rPr>
              <a:t>The taxpayers have the opportunity to declare their opening balance as on 01.08.2023 for ITC reversal Until 30th November 2023. 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3 (three) amendment opportunities to correct their opening balance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However, after </a:t>
            </a:r>
            <a:r>
              <a:rPr lang="en-GB" sz="2400" i="1" dirty="0">
                <a:solidFill>
                  <a:srgbClr val="FF0000"/>
                </a:solidFill>
              </a:rPr>
              <a:t>30th November till 31st December 2023</a:t>
            </a:r>
            <a:r>
              <a:rPr lang="en-GB" sz="2400" i="1" dirty="0">
                <a:solidFill>
                  <a:schemeClr val="tx1"/>
                </a:solidFill>
              </a:rPr>
              <a:t>, only amendments will be permitted and the option for fresh reporting will not be available. 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This amendment facility shall be discontinued after </a:t>
            </a:r>
            <a:r>
              <a:rPr lang="en-GB" sz="2400" i="1" dirty="0">
                <a:solidFill>
                  <a:srgbClr val="FF0000"/>
                </a:solidFill>
              </a:rPr>
              <a:t>31st December 2023</a:t>
            </a:r>
            <a:r>
              <a:rPr lang="en-GB" sz="2400" i="1" dirty="0">
                <a:solidFill>
                  <a:schemeClr val="tx1"/>
                </a:solidFill>
              </a:rPr>
              <a:t>.</a:t>
            </a:r>
          </a:p>
          <a:p>
            <a:endParaRPr lang="en-IN" sz="2400" i="1" dirty="0">
              <a:solidFill>
                <a:schemeClr val="tx1"/>
              </a:solidFill>
            </a:endParaRPr>
          </a:p>
          <a:p>
            <a:endParaRPr lang="en-IN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35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ABF2FB3-6D46-42B0-A8A2-8A5E9E98E0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11628"/>
            <a:ext cx="12192000" cy="5834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35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ADF061-68B8-4BCC-B59F-DB6C2205F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1133"/>
            <a:ext cx="12192000" cy="49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832D102-5403-4FDA-8A7B-8840C2540C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6929"/>
            <a:ext cx="12192000" cy="594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5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8F8EC4-9904-45C1-ACAD-4FC0385FD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7838"/>
            <a:ext cx="12192000" cy="674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39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AC0D6D-2346-4977-9469-3CD9E408DE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8070"/>
            <a:ext cx="12192000" cy="6181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27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4C38795-DDC6-4364-A95B-D270D6AD6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588" y="0"/>
            <a:ext cx="117288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84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375692D-E551-43E0-B708-3F4309A79B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5387"/>
            <a:ext cx="12192000" cy="648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7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54243" y="628650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Reasons for variations in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TC in 2A and ITC Table 8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3909652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D8FD18-0975-46C0-8FBB-E23B201509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23358"/>
            <a:ext cx="12192000" cy="401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30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5F888A-2A38-4F06-B394-46F1E5A5E4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41621"/>
            <a:ext cx="12192000" cy="190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39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000" b="1" dirty="0">
                <a:solidFill>
                  <a:srgbClr val="00B050"/>
                </a:solidFill>
              </a:rPr>
              <a:t>Electronic Credit Reversal and Re-claimed Statement” Balance declaration </a:t>
            </a:r>
            <a:endParaRPr lang="en-IN" sz="2000" dirty="0">
              <a:solidFill>
                <a:srgbClr val="FF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B24842-EDB5-5821-C4C2-F80334DB70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893" y="1431392"/>
            <a:ext cx="10987348" cy="443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33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61CDEEE-E220-4B6C-8908-9CA7FF33E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15149"/>
            <a:ext cx="12192000" cy="502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20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9513FB5-5B29-45B6-B7F3-FD105491A8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80" y="0"/>
            <a:ext cx="1204963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0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BFA583-965D-4905-9F45-A505FD2752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8564"/>
            <a:ext cx="12192000" cy="524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37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EC3843B-6190-4F4A-80D5-0040B8F209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71812"/>
            <a:ext cx="12192000" cy="63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5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5886F2C-E5CF-4829-A13B-57D784ADE9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6903"/>
            <a:ext cx="12192000" cy="602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9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How turnover in books is tallied with GSTR 9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/>
          <a:lstStyle/>
          <a:p>
            <a:r>
              <a:rPr lang="en-IN" sz="2400" i="1" dirty="0">
                <a:solidFill>
                  <a:schemeClr val="tx1"/>
                </a:solidFill>
              </a:rPr>
              <a:t>Turnover in books / Tax liability in Books / RCM in books  = </a:t>
            </a:r>
            <a:r>
              <a:rPr lang="en-IN" sz="2400" i="1" dirty="0">
                <a:solidFill>
                  <a:srgbClr val="FF0000"/>
                </a:solidFill>
              </a:rPr>
              <a:t>Table 4 – 4F- 4G + 5 + 10 – </a:t>
            </a:r>
            <a:r>
              <a:rPr lang="en-IN" sz="2400" i="1" dirty="0">
                <a:solidFill>
                  <a:schemeClr val="tx1"/>
                </a:solidFill>
              </a:rPr>
              <a:t>11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ITC in books  = </a:t>
            </a:r>
            <a:r>
              <a:rPr lang="en-IN" sz="2400" i="1" dirty="0">
                <a:solidFill>
                  <a:srgbClr val="FF0000"/>
                </a:solidFill>
              </a:rPr>
              <a:t>Table 6 – 7  - 12 + 13</a:t>
            </a:r>
            <a:endParaRPr lang="en-IN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70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B68258D-9C65-4199-9E24-5B868D178E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4775"/>
            <a:ext cx="12192000" cy="604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08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955A2B0-888F-494B-B151-A4684061CD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1882"/>
            <a:ext cx="12192000" cy="6794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8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DB13CFF-7BE9-409F-B17B-21540D72CE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18846"/>
            <a:ext cx="12192000" cy="422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4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052271A-6837-4933-B10A-57BB1AF906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2774"/>
            <a:ext cx="12192000" cy="555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59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56675" y="616618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roper Reporting of </a:t>
            </a:r>
            <a:r>
              <a:rPr lang="en-US" sz="4000" b="1" dirty="0">
                <a:ln w="1905"/>
                <a:solidFill>
                  <a:srgbClr val="7030A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eligible</a:t>
            </a: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and </a:t>
            </a:r>
            <a:r>
              <a:rPr lang="en-US" sz="4000" b="1" dirty="0">
                <a:ln w="1905"/>
                <a:solidFill>
                  <a:schemeClr val="accent2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neligible</a:t>
            </a: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ITC in GSTR 3B</a:t>
            </a:r>
            <a:endParaRPr lang="en-US" sz="24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33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2D9EB6-AB9F-4120-946B-4C6B70DC5C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2774"/>
            <a:ext cx="12192000" cy="555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33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Additional Tax liability Reported in GSTR 9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/>
          <a:lstStyle/>
          <a:p>
            <a:r>
              <a:rPr lang="en-IN" sz="2400" i="1" dirty="0">
                <a:solidFill>
                  <a:schemeClr val="tx1"/>
                </a:solidFill>
              </a:rPr>
              <a:t>Any Additional tax liability determined……. If reported in GSTR 9….pay in Cash……if not reported in GSTR 9…….pay using ITC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Any liability omitted to be reported in GSTR 9…..can be reported in GSTR 9C…..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Any Additional tax liability determined……. If reported in GSTR 9C….pay in Cash……….any liability omitted to be reported in GSTR 9C…..can be paid using ITC .</a:t>
            </a:r>
          </a:p>
          <a:p>
            <a:endParaRPr lang="en-IN" sz="2400" i="1" dirty="0">
              <a:solidFill>
                <a:schemeClr val="tx1"/>
              </a:solidFill>
            </a:endParaRPr>
          </a:p>
          <a:p>
            <a:endParaRPr lang="en-IN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17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56675" y="616618"/>
            <a:ext cx="9678649" cy="5162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TC Reporting in Annual Retur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For the FY 2022-23)</a:t>
            </a:r>
            <a:endParaRPr lang="en-US" sz="24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77450" y="228600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3787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oogle Shape;84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2372" y="132202"/>
            <a:ext cx="11666862" cy="626859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57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Times New Roman"/>
              <a:buNone/>
            </a:pPr>
            <a:r>
              <a:rPr lang="en-US" sz="4000">
                <a:latin typeface="Times New Roman"/>
                <a:ea typeface="Times New Roman"/>
                <a:cs typeface="Times New Roman"/>
                <a:sym typeface="Times New Roman"/>
              </a:rPr>
              <a:t>Changes in GSTR-3B</a:t>
            </a:r>
            <a:endParaRPr sz="40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90" name="Google Shape;90;p2"/>
          <p:cNvSpPr txBox="1">
            <a:spLocks noGrp="1"/>
          </p:cNvSpPr>
          <p:nvPr>
            <p:ph type="subTitle" idx="1"/>
          </p:nvPr>
        </p:nvSpPr>
        <p:spPr>
          <a:xfrm>
            <a:off x="1524000" y="2143125"/>
            <a:ext cx="9144000" cy="3114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900" lvl="0" indent="-34290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en-US"/>
              <a:t>Upto 31.12.2021, Table 4(A)(5) of GSTR-3B is to be filled after considering GSTR-2A.</a:t>
            </a:r>
            <a:endParaRPr/>
          </a:p>
          <a:p>
            <a:pPr marL="342900" lvl="0" indent="-342900" algn="just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en-US"/>
              <a:t>However, w.e.f. 01.01.2022, ITC claim will be allowed only if it appears in GSTR-2B. So, the taxpayers can no longer claim 5% provisional ITC w.e.f. 01.01.2022.. Section 16(2)(aa) of the CGST Act, 2017 also specifically states that the details of the invoice or debit note should be communicated to the recipient.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577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Times New Roman"/>
              <a:buNone/>
            </a:pPr>
            <a:r>
              <a:rPr lang="en-US" sz="4000">
                <a:latin typeface="Times New Roman"/>
                <a:ea typeface="Times New Roman"/>
                <a:cs typeface="Times New Roman"/>
                <a:sym typeface="Times New Roman"/>
              </a:rPr>
              <a:t>Table 4 of Old GSTR-3B</a:t>
            </a:r>
            <a:endParaRPr sz="400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96" name="Google Shape;96;p3"/>
          <p:cNvSpPr txBox="1">
            <a:spLocks noGrp="1"/>
          </p:cNvSpPr>
          <p:nvPr>
            <p:ph type="subTitle" idx="1"/>
          </p:nvPr>
        </p:nvSpPr>
        <p:spPr>
          <a:xfrm>
            <a:off x="1524000" y="2143125"/>
            <a:ext cx="9144000" cy="3114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/>
          </a:p>
        </p:txBody>
      </p:sp>
      <p:pic>
        <p:nvPicPr>
          <p:cNvPr id="97" name="Google Shape;97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85763" y="1700213"/>
            <a:ext cx="11258550" cy="504348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Table 4 of New GSTR-3B</a:t>
            </a:r>
            <a:endParaRPr/>
          </a:p>
        </p:txBody>
      </p:sp>
      <p:pic>
        <p:nvPicPr>
          <p:cNvPr id="103" name="Google Shape;103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8625" y="1357313"/>
            <a:ext cx="11487150" cy="53149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ITC Comparison Sheet: FY 2022-23</a:t>
            </a:r>
            <a:endParaRPr/>
          </a:p>
        </p:txBody>
      </p:sp>
      <p:pic>
        <p:nvPicPr>
          <p:cNvPr id="109" name="Google Shape;109;p5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316706" y="1314451"/>
            <a:ext cx="11558588" cy="54149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Opening Balance Reporting for August 2023</a:t>
            </a:r>
            <a:endParaRPr/>
          </a:p>
        </p:txBody>
      </p:sp>
      <p:pic>
        <p:nvPicPr>
          <p:cNvPr id="115" name="Google Shape;115;p6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242889" y="1357313"/>
            <a:ext cx="11744324" cy="5257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ITC Reversal and Reclaim Ledger</a:t>
            </a:r>
            <a:endParaRPr/>
          </a:p>
        </p:txBody>
      </p:sp>
      <p:pic>
        <p:nvPicPr>
          <p:cNvPr id="121" name="Google Shape;121;p7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28587" y="1314449"/>
            <a:ext cx="11930063" cy="53435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400" b="1" dirty="0">
                <a:solidFill>
                  <a:srgbClr val="00B050"/>
                </a:solidFill>
              </a:rPr>
              <a:t>Proper Reporting of ITC in GSTR 3B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>
            <a:normAutofit fontScale="92500" lnSpcReduction="20000"/>
          </a:bodyPr>
          <a:lstStyle/>
          <a:p>
            <a:r>
              <a:rPr lang="en-GB" sz="2400" i="1" dirty="0">
                <a:solidFill>
                  <a:schemeClr val="tx1"/>
                </a:solidFill>
              </a:rPr>
              <a:t>Changes GSTR 3B format………..Table 4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Moving from GSTR 2A to GSTR 2B…….Auto population into GSTR 3B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The concept of Permanent Reversal and Temporary Reversal…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ITC Credit Reversal Option in GST Portal. Giving opening balance on 01.08.2023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CBIC Circulars and State Circulars on ITC </a:t>
            </a:r>
            <a:r>
              <a:rPr lang="en-GB" sz="2400" i="1" dirty="0" err="1">
                <a:solidFill>
                  <a:schemeClr val="tx1"/>
                </a:solidFill>
              </a:rPr>
              <a:t>availment</a:t>
            </a:r>
            <a:r>
              <a:rPr lang="en-GB" sz="2400" i="1" dirty="0">
                <a:solidFill>
                  <a:schemeClr val="tx1"/>
                </a:solidFill>
              </a:rPr>
              <a:t> and Reversal disclosures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New Rules – Rule 88D &amp; DRC 01C…for ITC Mismatch between GSTR 3B &amp; GSTR 2B……. GST Portal Comes out with new functionality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New Rules – Rule 88C &amp; DRC 01B…for Output Tax Mismatch between GSTR 3B &amp; GSTR 1………GST Portal Comes out with new functionality.</a:t>
            </a:r>
          </a:p>
          <a:p>
            <a:r>
              <a:rPr lang="en-GB" sz="2400" i="1" dirty="0">
                <a:solidFill>
                  <a:schemeClr val="tx1"/>
                </a:solidFill>
              </a:rPr>
              <a:t>ITC Reversal under Rule 37A………..Supplier had filed GSTR 1,but GSTR 3B had not filed………….. New option in Portal.</a:t>
            </a:r>
          </a:p>
          <a:p>
            <a:endParaRPr lang="en-GB" sz="2400" i="1" dirty="0">
              <a:solidFill>
                <a:schemeClr val="tx1"/>
              </a:solidFill>
            </a:endParaRPr>
          </a:p>
          <a:p>
            <a:endParaRPr lang="en-GB" sz="2400" i="1" dirty="0">
              <a:solidFill>
                <a:schemeClr val="tx1"/>
              </a:solidFill>
            </a:endParaRPr>
          </a:p>
          <a:p>
            <a:endParaRPr lang="en-IN" sz="2400" i="1" dirty="0">
              <a:solidFill>
                <a:schemeClr val="tx1"/>
              </a:solidFill>
            </a:endParaRPr>
          </a:p>
          <a:p>
            <a:endParaRPr lang="en-IN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92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8"/>
          <p:cNvSpPr txBox="1">
            <a:spLocks noGrp="1"/>
          </p:cNvSpPr>
          <p:nvPr>
            <p:ph type="title"/>
          </p:nvPr>
        </p:nvSpPr>
        <p:spPr>
          <a:xfrm>
            <a:off x="500062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Table 6 of GSTR-9</a:t>
            </a:r>
            <a:endParaRPr/>
          </a:p>
        </p:txBody>
      </p:sp>
      <p:pic>
        <p:nvPicPr>
          <p:cNvPr id="127" name="Google Shape;127;p8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500062" y="914400"/>
            <a:ext cx="10287001" cy="56292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9"/>
          <p:cNvSpPr txBox="1">
            <a:spLocks noGrp="1"/>
          </p:cNvSpPr>
          <p:nvPr>
            <p:ph type="title"/>
          </p:nvPr>
        </p:nvSpPr>
        <p:spPr>
          <a:xfrm>
            <a:off x="485775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Table 7 of GSTR-9</a:t>
            </a:r>
            <a:endParaRPr/>
          </a:p>
        </p:txBody>
      </p:sp>
      <p:pic>
        <p:nvPicPr>
          <p:cNvPr id="133" name="Google Shape;133;p9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271588" y="1314451"/>
            <a:ext cx="8943975" cy="10144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71589" y="2214562"/>
            <a:ext cx="8943974" cy="40290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10"/>
          <p:cNvSpPr txBox="1">
            <a:spLocks noGrp="1"/>
          </p:cNvSpPr>
          <p:nvPr>
            <p:ph type="title"/>
          </p:nvPr>
        </p:nvSpPr>
        <p:spPr>
          <a:xfrm>
            <a:off x="709612" y="0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Table 8 of GSTR-9</a:t>
            </a:r>
            <a:endParaRPr/>
          </a:p>
        </p:txBody>
      </p:sp>
      <p:pic>
        <p:nvPicPr>
          <p:cNvPr id="140" name="Google Shape;140;p10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028700" y="942975"/>
            <a:ext cx="10196511" cy="56864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ITC Updation in Table 8A of GSTR-9</a:t>
            </a:r>
            <a:endParaRPr/>
          </a:p>
        </p:txBody>
      </p:sp>
      <p:pic>
        <p:nvPicPr>
          <p:cNvPr id="146" name="Google Shape;146;p11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682388" y="1433016"/>
            <a:ext cx="11177516" cy="496778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Instruction for Table 6H &amp; 6J of GSTR-9</a:t>
            </a:r>
            <a:endParaRPr/>
          </a:p>
        </p:txBody>
      </p:sp>
      <p:pic>
        <p:nvPicPr>
          <p:cNvPr id="152" name="Google Shape;152;p12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586854" y="2265531"/>
            <a:ext cx="10766946" cy="29615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Instruction for Table 8D of GSTR-9</a:t>
            </a:r>
            <a:endParaRPr/>
          </a:p>
        </p:txBody>
      </p:sp>
      <p:pic>
        <p:nvPicPr>
          <p:cNvPr id="158" name="Google Shape;158;p13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290637" y="2019868"/>
            <a:ext cx="9610725" cy="361665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/>
              <a:t>Instruction for Table 13 of GSTR-9</a:t>
            </a:r>
            <a:endParaRPr/>
          </a:p>
        </p:txBody>
      </p:sp>
      <p:pic>
        <p:nvPicPr>
          <p:cNvPr id="164" name="Google Shape;164;p14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295400" y="2142699"/>
            <a:ext cx="9601200" cy="33709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Table 12 of GSTR-9C</a:t>
            </a:r>
            <a:endParaRPr/>
          </a:p>
        </p:txBody>
      </p:sp>
      <p:pic>
        <p:nvPicPr>
          <p:cNvPr id="170" name="Google Shape;170;p15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100920" y="1526915"/>
            <a:ext cx="9990160" cy="330439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" name="Google Shape;171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57785" y="4708479"/>
            <a:ext cx="9876429" cy="89562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History of Changes in GSTR-3B</a:t>
            </a:r>
            <a:endParaRPr/>
          </a:p>
        </p:txBody>
      </p:sp>
      <p:pic>
        <p:nvPicPr>
          <p:cNvPr id="177" name="Google Shape;177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73206" y="1446662"/>
            <a:ext cx="11286698" cy="49404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17"/>
          <p:cNvSpPr txBox="1">
            <a:spLocks noGrp="1"/>
          </p:cNvSpPr>
          <p:nvPr>
            <p:ph type="title"/>
          </p:nvPr>
        </p:nvSpPr>
        <p:spPr>
          <a:xfrm>
            <a:off x="781334" y="105818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imes New Roman"/>
              <a:buNone/>
            </a:pPr>
            <a:r>
              <a:rPr lang="en-US">
                <a:latin typeface="Times New Roman"/>
                <a:ea typeface="Times New Roman"/>
                <a:cs typeface="Times New Roman"/>
                <a:sym typeface="Times New Roman"/>
              </a:rPr>
              <a:t>ITC Related Scenarios in GSTR-9</a:t>
            </a:r>
            <a:endParaRPr/>
          </a:p>
        </p:txBody>
      </p:sp>
      <p:pic>
        <p:nvPicPr>
          <p:cNvPr id="183" name="Google Shape;183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5910" y="1037230"/>
            <a:ext cx="10986448" cy="543180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400" b="1" dirty="0">
                <a:solidFill>
                  <a:srgbClr val="00B050"/>
                </a:solidFill>
              </a:rPr>
              <a:t>Proper reporting of Eligible and Ineligible ITC in GSTR 3B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>
            <a:normAutofit/>
          </a:bodyPr>
          <a:lstStyle/>
          <a:p>
            <a:r>
              <a:rPr lang="en-IN" sz="2400" i="1" dirty="0">
                <a:solidFill>
                  <a:srgbClr val="FF0000"/>
                </a:solidFill>
              </a:rPr>
              <a:t>Kerala State Trade Circular No: 1 dt 21.11.2022 </a:t>
            </a:r>
            <a:r>
              <a:rPr lang="en-IN" sz="2400" i="1" dirty="0">
                <a:solidFill>
                  <a:schemeClr val="tx1"/>
                </a:solidFill>
              </a:rPr>
              <a:t>– </a:t>
            </a:r>
            <a:r>
              <a:rPr lang="en-GB" sz="2400" i="1" dirty="0">
                <a:solidFill>
                  <a:schemeClr val="tx1"/>
                </a:solidFill>
              </a:rPr>
              <a:t>Mandatory furnishing of correct and proper information of </a:t>
            </a:r>
            <a:r>
              <a:rPr lang="en-GB" sz="2400" b="1" i="1" dirty="0">
                <a:solidFill>
                  <a:srgbClr val="7030A0"/>
                </a:solidFill>
              </a:rPr>
              <a:t>ineligible / blocked Input Tax Credit and reversal </a:t>
            </a:r>
            <a:r>
              <a:rPr lang="en-GB" sz="2400" i="1" dirty="0">
                <a:solidFill>
                  <a:schemeClr val="tx1"/>
                </a:solidFill>
              </a:rPr>
              <a:t>thereof in return in FORM GSTR-3B</a:t>
            </a:r>
            <a:endParaRPr lang="en-IN" sz="2400" i="1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93F4D4-9F7D-5D4C-33C1-B950C316FF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9085" y="3121571"/>
            <a:ext cx="9791700" cy="341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59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" name="Google Shape;188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9100" y="153125"/>
            <a:ext cx="11674551" cy="64911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19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479946" y="1868111"/>
            <a:ext cx="11232108" cy="38503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oogle Shape;198;p20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382137" y="1978925"/>
            <a:ext cx="10971663" cy="349382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iling of GSTR 9C for FY 2022-2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C80A2E-AB3E-4414-B6B8-224141D0C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86963" y="447675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1295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E813A6-1416-BE05-4151-A32298E9B7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B418B6C-01DC-0B89-3F0A-D1D7F6CEC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3356" y="931511"/>
            <a:ext cx="2353260" cy="47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99199"/>
      </p:ext>
    </p:extLst>
  </p:cSld>
  <p:clrMapOvr>
    <a:masterClrMapping/>
  </p:clrMapOvr>
  <p:transition spd="slow">
    <p:push dir="u"/>
  </p:transition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ITC updating done up to 31.07.2023 only…….!!!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77AAFA-BD36-C64A-1729-25F08EB0AC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4652" y="1653734"/>
            <a:ext cx="10220093" cy="355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839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GSTR 9C</a:t>
            </a:r>
            <a:r>
              <a:rPr lang="en-US" sz="54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for FY 2022-2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C80A2E-AB3E-4414-B6B8-224141D0C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86963" y="447675"/>
            <a:ext cx="20669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05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8302" y="2667085"/>
            <a:ext cx="1132449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Reconciliation Statement </a:t>
            </a:r>
          </a:p>
        </p:txBody>
      </p:sp>
    </p:spTree>
    <p:extLst>
      <p:ext uri="{BB962C8B-B14F-4D97-AF65-F5344CB8AC3E}">
        <p14:creationId xmlns:p14="http://schemas.microsoft.com/office/powerpoint/2010/main" val="178154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IN" sz="3200" b="1" dirty="0">
                <a:solidFill>
                  <a:srgbClr val="00B050"/>
                </a:solidFill>
              </a:rPr>
              <a:t>Points to Remember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0D75AF-4551-4813-824E-06D972287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262" y="1611064"/>
            <a:ext cx="11127347" cy="4366400"/>
          </a:xfrm>
        </p:spPr>
        <p:txBody>
          <a:bodyPr>
            <a:normAutofit fontScale="92500"/>
          </a:bodyPr>
          <a:lstStyle/>
          <a:p>
            <a:r>
              <a:rPr lang="en-IN" sz="2400" i="1" dirty="0">
                <a:solidFill>
                  <a:schemeClr val="tx1"/>
                </a:solidFill>
              </a:rPr>
              <a:t>First file GSTR 3B, I , 9 ……before filing GSTR 9C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If there are separate GSTIN for same PAN….. File separate GSTR 9C for each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GSTR 9C reconciles Turnover, Tax and ITC …….between………………… GSTR 9 and Audited Financial Statement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GSTR 9C…….is only a reconciliation statement…..and not a GST Audit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Relaxations in Table 5 withdrawn……..except T5B…… All other items in Table 5 are mandatory for FY 22-23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Table 14 of GSTR 9C ……ITC on Expenses wise……is optional for FY 22-23.</a:t>
            </a:r>
          </a:p>
          <a:p>
            <a:r>
              <a:rPr lang="en-IN" sz="2400" i="1" dirty="0">
                <a:solidFill>
                  <a:schemeClr val="tx1"/>
                </a:solidFill>
              </a:rPr>
              <a:t>Any Additional tax liability determined……. If reported in GSTR 9C….pay in Cash……….any liability omitted to be reported in GSTR 9C…..can be paid using ITC .</a:t>
            </a:r>
          </a:p>
          <a:p>
            <a:endParaRPr lang="en-IN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09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806963-7095-550F-EA6F-8916C014E0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6824"/>
            <a:ext cx="12192000" cy="4210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2400" b="1" dirty="0">
                <a:solidFill>
                  <a:srgbClr val="00B050"/>
                </a:solidFill>
              </a:rPr>
              <a:t>ITC mismatch -GST DRC-01C</a:t>
            </a:r>
            <a:endParaRPr lang="en-IN" sz="2400" dirty="0">
              <a:solidFill>
                <a:srgbClr val="FF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6CC519-4E94-EC1D-F662-CFC9482F72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392" y="1681655"/>
            <a:ext cx="10987349" cy="4054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39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F8E9420-0C70-BEFB-A4CF-88161699C7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51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6C6D851-AE0A-37CE-1FC1-C27F8B5F6B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74178"/>
            <a:ext cx="12192000" cy="530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39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3200" b="1" dirty="0">
                <a:solidFill>
                  <a:srgbClr val="00B050"/>
                </a:solidFill>
              </a:rPr>
              <a:t>T</a:t>
            </a:r>
            <a:r>
              <a:rPr lang="en-IN" sz="3200" b="1" dirty="0" err="1">
                <a:solidFill>
                  <a:srgbClr val="00B050"/>
                </a:solidFill>
              </a:rPr>
              <a:t>ables</a:t>
            </a:r>
            <a:r>
              <a:rPr lang="en-IN" sz="3200" b="1" dirty="0">
                <a:solidFill>
                  <a:srgbClr val="00B050"/>
                </a:solidFill>
              </a:rPr>
              <a:t> of GSTR 9 Down loaded from Portal</a:t>
            </a:r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56CC5F-29EC-CC29-E90A-C35E3B3CCA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645920"/>
            <a:ext cx="12192000" cy="35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9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3200" b="1" dirty="0">
                <a:solidFill>
                  <a:srgbClr val="00B050"/>
                </a:solidFill>
              </a:rPr>
              <a:t>T</a:t>
            </a:r>
            <a:r>
              <a:rPr lang="en-IN" sz="3200" b="1" dirty="0" err="1">
                <a:solidFill>
                  <a:srgbClr val="00B050"/>
                </a:solidFill>
              </a:rPr>
              <a:t>ables</a:t>
            </a:r>
            <a:r>
              <a:rPr lang="en-IN" sz="3200" b="1" dirty="0">
                <a:solidFill>
                  <a:srgbClr val="00B050"/>
                </a:solidFill>
              </a:rPr>
              <a:t> of GSTR 9 Down loaded from Portal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1C1428-FDE8-9E3E-42CC-79258C5BAE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678850"/>
            <a:ext cx="12192000" cy="150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0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3200" b="1" dirty="0">
                <a:solidFill>
                  <a:srgbClr val="00B050"/>
                </a:solidFill>
              </a:rPr>
              <a:t>T</a:t>
            </a:r>
            <a:r>
              <a:rPr lang="en-IN" sz="3200" b="1" dirty="0" err="1">
                <a:solidFill>
                  <a:srgbClr val="00B050"/>
                </a:solidFill>
              </a:rPr>
              <a:t>ables</a:t>
            </a:r>
            <a:r>
              <a:rPr lang="en-IN" sz="3200" b="1" dirty="0">
                <a:solidFill>
                  <a:srgbClr val="00B050"/>
                </a:solidFill>
              </a:rPr>
              <a:t> of GSTR 9 Down loaded from Portal</a:t>
            </a:r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3CBBD3-4543-673A-DF90-8C7F58B26A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00" y="2186611"/>
            <a:ext cx="12192000" cy="6966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667596-95AE-0927-1C5B-032C98A173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300" y="2873772"/>
            <a:ext cx="12192000" cy="356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60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0540" y="116958"/>
            <a:ext cx="1616148" cy="1201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C799D2-5201-4330-9C8D-74D2FCE08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893" y="882393"/>
            <a:ext cx="10987348" cy="548999"/>
          </a:xfrm>
        </p:spPr>
        <p:txBody>
          <a:bodyPr/>
          <a:lstStyle/>
          <a:p>
            <a:r>
              <a:rPr lang="en-GB" sz="3200" b="1" dirty="0">
                <a:solidFill>
                  <a:srgbClr val="00B050"/>
                </a:solidFill>
              </a:rPr>
              <a:t>T</a:t>
            </a:r>
            <a:r>
              <a:rPr lang="en-IN" sz="3200" b="1" dirty="0" err="1">
                <a:solidFill>
                  <a:srgbClr val="00B050"/>
                </a:solidFill>
              </a:rPr>
              <a:t>ables</a:t>
            </a:r>
            <a:r>
              <a:rPr lang="en-IN" sz="3200" b="1" dirty="0">
                <a:solidFill>
                  <a:srgbClr val="00B050"/>
                </a:solidFill>
              </a:rPr>
              <a:t> of GSTR 9 Down loaded from Portal</a:t>
            </a:r>
            <a:endParaRPr lang="en-IN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98C0D2-B4E6-C4A6-063F-A8268CB7C5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714979"/>
            <a:ext cx="12192000" cy="142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9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6AD434-3095-6810-FEDD-082C1626B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25" y="1023937"/>
            <a:ext cx="11944350" cy="481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78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1DC83B8-0C8D-CE6F-4727-39C6A9565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837" y="695325"/>
            <a:ext cx="11744325" cy="546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40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EC35FBF-161F-20A7-4D74-9F7085E22A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362" y="1381125"/>
            <a:ext cx="11725275" cy="409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15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39E6A5-48E6-BC8E-7CDE-5EDF030BE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5" y="2414587"/>
            <a:ext cx="11791950" cy="20288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B52292-DB0E-03BD-F6F4-090E886782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512" y="4333875"/>
            <a:ext cx="11701463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6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5B9BD5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Tally_Corpor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ally_Corporate" id="{F85044B6-3E45-4EAF-8E51-BAC04540D83F}" vid="{19C2E2C1-8B69-4A64-B7F7-462237AF8E9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812</TotalTime>
  <Words>1486</Words>
  <Application>Microsoft Office PowerPoint</Application>
  <PresentationFormat>Widescreen</PresentationFormat>
  <Paragraphs>275</Paragraphs>
  <Slides>120</Slides>
  <Notes>9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0</vt:i4>
      </vt:variant>
    </vt:vector>
  </HeadingPairs>
  <TitlesOfParts>
    <vt:vector size="125" baseType="lpstr">
      <vt:lpstr>Arial</vt:lpstr>
      <vt:lpstr>Calibri</vt:lpstr>
      <vt:lpstr>Calibri Light</vt:lpstr>
      <vt:lpstr>Times New Roman</vt:lpstr>
      <vt:lpstr>Tally_Corporate</vt:lpstr>
      <vt:lpstr>PowerPoint Presentation</vt:lpstr>
      <vt:lpstr>PowerPoint Presentation</vt:lpstr>
      <vt:lpstr>Time limit - 30.11.2023 /Annual Return filed Date Whichever is earlier.</vt:lpstr>
      <vt:lpstr>Electronic Credit Reversal and Re-claimed Statement” Balance declaration </vt:lpstr>
      <vt:lpstr>Electronic Credit Reversal and Re-claimed Statement” Balance declaration </vt:lpstr>
      <vt:lpstr>PowerPoint Presentation</vt:lpstr>
      <vt:lpstr>Proper Reporting of ITC in GSTR 3B</vt:lpstr>
      <vt:lpstr>Proper reporting of Eligible and Ineligible ITC in GSTR 3B</vt:lpstr>
      <vt:lpstr>ITC mismatch -GST DRC-01C</vt:lpstr>
      <vt:lpstr>ITC Reversal on Account of Rule 37(A)</vt:lpstr>
      <vt:lpstr>Introducing Electronic Credit Reversal and Reclaimed state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laxation in Annual Return Filing FY 2022-23</vt:lpstr>
      <vt:lpstr>Relaxation in Annual Return Filing</vt:lpstr>
      <vt:lpstr>Relaxation in Annual Return Filing</vt:lpstr>
      <vt:lpstr>PowerPoint Presentation</vt:lpstr>
      <vt:lpstr>facilities in GST Portal</vt:lpstr>
      <vt:lpstr>facilities in GST Portal</vt:lpstr>
      <vt:lpstr>facilities in GST Portal</vt:lpstr>
      <vt:lpstr>facilities in GST Port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turnover in books is tallied with GSTR 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dditional Tax liability Reported in GSTR 9</vt:lpstr>
      <vt:lpstr>PowerPoint Presentation</vt:lpstr>
      <vt:lpstr>PowerPoint Presentation</vt:lpstr>
      <vt:lpstr>Changes in GSTR-3B</vt:lpstr>
      <vt:lpstr>Table 4 of Old GSTR-3B</vt:lpstr>
      <vt:lpstr>Table 4 of New GSTR-3B</vt:lpstr>
      <vt:lpstr>ITC Comparison Sheet: FY 2022-23</vt:lpstr>
      <vt:lpstr>Opening Balance Reporting for August 2023</vt:lpstr>
      <vt:lpstr>ITC Reversal and Reclaim Ledger</vt:lpstr>
      <vt:lpstr>Table 6 of GSTR-9</vt:lpstr>
      <vt:lpstr>Table 7 of GSTR-9</vt:lpstr>
      <vt:lpstr>Table 8 of GSTR-9</vt:lpstr>
      <vt:lpstr>ITC Updation in Table 8A of GSTR-9</vt:lpstr>
      <vt:lpstr>Instruction for Table 6H &amp; 6J of GSTR-9</vt:lpstr>
      <vt:lpstr>Instruction for Table 8D of GSTR-9</vt:lpstr>
      <vt:lpstr>Instruction for Table 13 of GSTR-9</vt:lpstr>
      <vt:lpstr>Table 12 of GSTR-9C</vt:lpstr>
      <vt:lpstr>History of Changes in GSTR-3B</vt:lpstr>
      <vt:lpstr>ITC Related Scenarios in GSTR-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TC updating done up to 31.07.2023 only…….!!!</vt:lpstr>
      <vt:lpstr>PowerPoint Presentation</vt:lpstr>
      <vt:lpstr>PowerPoint Presentation</vt:lpstr>
      <vt:lpstr>Points to Remember</vt:lpstr>
      <vt:lpstr>PowerPoint Presentation</vt:lpstr>
      <vt:lpstr>PowerPoint Presentation</vt:lpstr>
      <vt:lpstr>PowerPoint Presentation</vt:lpstr>
      <vt:lpstr>Tables of GSTR 9 Down loaded from Portal</vt:lpstr>
      <vt:lpstr>Tables of GSTR 9 Down loaded from Portal</vt:lpstr>
      <vt:lpstr>Tables of GSTR 9 Down loaded from Portal</vt:lpstr>
      <vt:lpstr>Tables of GSTR 9 Down loaded from Port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geetha B</dc:creator>
  <cp:lastModifiedBy>Tony M P</cp:lastModifiedBy>
  <cp:revision>1066</cp:revision>
  <dcterms:created xsi:type="dcterms:W3CDTF">2016-11-18T10:18:58Z</dcterms:created>
  <dcterms:modified xsi:type="dcterms:W3CDTF">2023-12-15T10:45:17Z</dcterms:modified>
</cp:coreProperties>
</file>